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708" r:id="rId1"/>
    <p:sldMasterId id="2147483719" r:id="rId2"/>
    <p:sldMasterId id="2147483728" r:id="rId3"/>
  </p:sldMasterIdLst>
  <p:notesMasterIdLst>
    <p:notesMasterId r:id="rId12"/>
  </p:notesMasterIdLst>
  <p:handoutMasterIdLst>
    <p:handoutMasterId r:id="rId13"/>
  </p:handoutMasterIdLst>
  <p:sldIdLst>
    <p:sldId id="256" r:id="rId4"/>
    <p:sldId id="259" r:id="rId5"/>
    <p:sldId id="270" r:id="rId6"/>
    <p:sldId id="271" r:id="rId7"/>
    <p:sldId id="273" r:id="rId8"/>
    <p:sldId id="276" r:id="rId9"/>
    <p:sldId id="284" r:id="rId10"/>
    <p:sldId id="280" r:id="rId11"/>
  </p:sldIdLst>
  <p:sldSz cx="12190413" cy="6859588"/>
  <p:notesSz cx="6858000" cy="9144000"/>
  <p:custDataLst>
    <p:tags r:id="rId14"/>
  </p:custDataLst>
  <p:defaultTextStyle>
    <a:defPPr lvl="0">
      <a:defRPr lang="nl-NL"/>
    </a:defPPr>
    <a:lvl1pPr marL="0" lvl="1" algn="l" defTabSz="1088502" rtl="0" eaLnBrk="1" latinLnBrk="0" hangingPunct="1">
      <a:defRPr sz="2100" kern="1200">
        <a:solidFill>
          <a:schemeClr val="tx1"/>
        </a:solidFill>
        <a:latin typeface="+mn-lt"/>
        <a:ea typeface="+mn-ea"/>
        <a:cs typeface="+mn-cs"/>
      </a:defRPr>
    </a:lvl1pPr>
    <a:lvl2pPr marL="544251" lvl="2" algn="l" defTabSz="1088502" rtl="0" eaLnBrk="1" latinLnBrk="0" hangingPunct="1">
      <a:defRPr sz="2100" kern="1200">
        <a:solidFill>
          <a:schemeClr val="tx1"/>
        </a:solidFill>
        <a:latin typeface="+mn-lt"/>
        <a:ea typeface="+mn-ea"/>
        <a:cs typeface="+mn-cs"/>
      </a:defRPr>
    </a:lvl2pPr>
    <a:lvl3pPr marL="1088502" lvl="3" algn="l" defTabSz="1088502" rtl="0" eaLnBrk="1" latinLnBrk="0" hangingPunct="1">
      <a:defRPr sz="2100" kern="1200">
        <a:solidFill>
          <a:schemeClr val="tx1"/>
        </a:solidFill>
        <a:latin typeface="+mn-lt"/>
        <a:ea typeface="+mn-ea"/>
        <a:cs typeface="+mn-cs"/>
      </a:defRPr>
    </a:lvl3pPr>
    <a:lvl4pPr marL="1632753" lvl="4"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81" userDrawn="1">
          <p15:clr>
            <a:srgbClr val="A4A3A4"/>
          </p15:clr>
        </p15:guide>
        <p15:guide id="2" orient="horz" pos="3871" userDrawn="1">
          <p15:clr>
            <a:srgbClr val="A4A3A4"/>
          </p15:clr>
        </p15:guide>
        <p15:guide id="3" pos="3840" userDrawn="1">
          <p15:clr>
            <a:srgbClr val="A4A3A4"/>
          </p15:clr>
        </p15:guide>
        <p15:guide id="4" pos="438" userDrawn="1">
          <p15:clr>
            <a:srgbClr val="A4A3A4"/>
          </p15:clr>
        </p15:guide>
        <p15:guide id="5" pos="7331" userDrawn="1">
          <p15:clr>
            <a:srgbClr val="A4A3A4"/>
          </p15:clr>
        </p15:guide>
        <p15:guide id="6" orient="horz" pos="3872">
          <p15:clr>
            <a:srgbClr val="A4A3A4"/>
          </p15:clr>
        </p15:guide>
        <p15:guide id="7" pos="733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on der Fuhr, Tim" initials="VdFT" lastIdx="20" clrIdx="0">
    <p:extLst>
      <p:ext uri="{19B8F6BF-5375-455C-9EA6-DF929625EA0E}">
        <p15:presenceInfo xmlns:p15="http://schemas.microsoft.com/office/powerpoint/2012/main" userId="S::VonderFuhr.Tim@kpmg.nl::5f67431f-8a50-4812-b943-4146d6e97fe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6A00"/>
    <a:srgbClr val="FFFFFF"/>
    <a:srgbClr val="001A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097302-2983-4C11-8570-887F5285A03A}" v="5" dt="2022-09-20T18:38:59.6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2" autoAdjust="0"/>
    <p:restoredTop sz="94660"/>
  </p:normalViewPr>
  <p:slideViewPr>
    <p:cSldViewPr>
      <p:cViewPr varScale="1">
        <p:scale>
          <a:sx n="86" d="100"/>
          <a:sy n="86" d="100"/>
        </p:scale>
        <p:origin x="576" y="90"/>
      </p:cViewPr>
      <p:guideLst>
        <p:guide orient="horz" pos="981"/>
        <p:guide orient="horz" pos="3871"/>
        <p:guide pos="3840"/>
        <p:guide pos="438"/>
        <p:guide pos="7331"/>
        <p:guide orient="horz" pos="3872"/>
        <p:guide pos="7330"/>
      </p:guideLst>
    </p:cSldViewPr>
  </p:slideViewPr>
  <p:notesTextViewPr>
    <p:cViewPr>
      <p:scale>
        <a:sx n="100" d="100"/>
        <a:sy n="100" d="100"/>
      </p:scale>
      <p:origin x="0" y="0"/>
    </p:cViewPr>
  </p:notesTextViewPr>
  <p:notesViewPr>
    <p:cSldViewPr>
      <p:cViewPr varScale="1">
        <p:scale>
          <a:sx n="65" d="100"/>
          <a:sy n="65" d="100"/>
        </p:scale>
        <p:origin x="3082" y="4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Master" Target="slideMasters/slideMaster3.xml"/><Relationship Id="rId21" Type="http://schemas.microsoft.com/office/2015/10/relationships/revisionInfo" Target="revisionInfo.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D7757D0-0DA8-4B50-962C-F8908CCD91C6}" type="datetimeFigureOut">
              <a:rPr lang="nl-NL" smtClean="0"/>
              <a:pPr/>
              <a:t>22-9-2022</a:t>
            </a:fld>
            <a:endParaRPr lang="nl-NL" dirty="0"/>
          </a:p>
        </p:txBody>
      </p:sp>
      <p:sp>
        <p:nvSpPr>
          <p:cNvPr id="4" name="Tijdelijke aanduiding voor voetteks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dirty="0"/>
          </a:p>
        </p:txBody>
      </p:sp>
      <p:sp>
        <p:nvSpPr>
          <p:cNvPr id="5" name="Tijdelijke aanduiding voor dia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393B2BB-416B-4E85-A754-0B695991D3F5}" type="slidenum">
              <a:rPr lang="nl-NL" smtClean="0"/>
              <a:pPr/>
              <a:t>‹nr.›</a:t>
            </a:fld>
            <a:endParaRPr lang="nl-NL" dirty="0"/>
          </a:p>
        </p:txBody>
      </p:sp>
    </p:spTree>
    <p:extLst>
      <p:ext uri="{BB962C8B-B14F-4D97-AF65-F5344CB8AC3E}">
        <p14:creationId xmlns:p14="http://schemas.microsoft.com/office/powerpoint/2010/main" val="22673547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bwMode="gray">
          <a:xfrm>
            <a:off x="0" y="0"/>
            <a:ext cx="2971800" cy="457200"/>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idx="1"/>
          </p:nvPr>
        </p:nvSpPr>
        <p:spPr bwMode="gray">
          <a:xfrm>
            <a:off x="3884613" y="0"/>
            <a:ext cx="2971800" cy="457200"/>
          </a:xfrm>
          <a:prstGeom prst="rect">
            <a:avLst/>
          </a:prstGeom>
        </p:spPr>
        <p:txBody>
          <a:bodyPr vert="horz" lIns="91440" tIns="45720" rIns="91440" bIns="45720" rtlCol="0"/>
          <a:lstStyle>
            <a:lvl1pPr algn="r">
              <a:defRPr sz="1200"/>
            </a:lvl1pPr>
          </a:lstStyle>
          <a:p>
            <a:fld id="{7CAC0B33-3943-42F1-973C-9CDD51C76BBD}" type="datetimeFigureOut">
              <a:rPr lang="nl-NL" smtClean="0"/>
              <a:pPr/>
              <a:t>22-9-2022</a:t>
            </a:fld>
            <a:endParaRPr lang="nl-NL" dirty="0"/>
          </a:p>
        </p:txBody>
      </p:sp>
      <p:sp>
        <p:nvSpPr>
          <p:cNvPr id="4" name="Tijdelijke aanduiding voor dia-afbeelding 3"/>
          <p:cNvSpPr>
            <a:spLocks noGrp="1" noRot="1" noChangeAspect="1"/>
          </p:cNvSpPr>
          <p:nvPr>
            <p:ph type="sldImg" idx="2"/>
          </p:nvPr>
        </p:nvSpPr>
        <p:spPr bwMode="gray">
          <a:xfrm>
            <a:off x="382588" y="685800"/>
            <a:ext cx="6092825" cy="3429000"/>
          </a:xfrm>
          <a:prstGeom prst="rect">
            <a:avLst/>
          </a:prstGeom>
          <a:noFill/>
          <a:ln w="12700">
            <a:solidFill>
              <a:prstClr val="black"/>
            </a:solidFill>
          </a:ln>
        </p:spPr>
        <p:txBody>
          <a:bodyPr vert="horz" lIns="91440" tIns="45720" rIns="91440" bIns="45720" rtlCol="0" anchor="ctr"/>
          <a:lstStyle/>
          <a:p>
            <a:endParaRPr lang="nl-NL" dirty="0"/>
          </a:p>
        </p:txBody>
      </p:sp>
      <p:sp>
        <p:nvSpPr>
          <p:cNvPr id="5" name="Tijdelijke aanduiding voor notities 4"/>
          <p:cNvSpPr>
            <a:spLocks noGrp="1"/>
          </p:cNvSpPr>
          <p:nvPr>
            <p:ph type="body" sz="quarter" idx="3"/>
          </p:nvPr>
        </p:nvSpPr>
        <p:spPr bwMode="gray">
          <a:xfrm>
            <a:off x="685800" y="4343400"/>
            <a:ext cx="5486400" cy="4114800"/>
          </a:xfrm>
          <a:prstGeom prst="rect">
            <a:avLst/>
          </a:prstGeom>
        </p:spPr>
        <p:txBody>
          <a:bodyPr vert="horz" lIns="91440" tIns="45720" rIns="91440" bIns="45720" rtlCol="0">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6" name="Tijdelijke aanduiding voor voettekst 5"/>
          <p:cNvSpPr>
            <a:spLocks noGrp="1"/>
          </p:cNvSpPr>
          <p:nvPr>
            <p:ph type="ftr" sz="quarter" idx="4"/>
          </p:nvPr>
        </p:nvSpPr>
        <p:spPr bwMode="gray">
          <a:xfrm>
            <a:off x="0" y="8685213"/>
            <a:ext cx="2971800" cy="457200"/>
          </a:xfrm>
          <a:prstGeom prst="rect">
            <a:avLst/>
          </a:prstGeom>
        </p:spPr>
        <p:txBody>
          <a:bodyPr vert="horz" lIns="91440" tIns="45720" rIns="91440" bIns="45720" rtlCol="0" anchor="b"/>
          <a:lstStyle>
            <a:lvl1pPr algn="l">
              <a:defRPr sz="1200"/>
            </a:lvl1pPr>
          </a:lstStyle>
          <a:p>
            <a:endParaRPr lang="nl-NL" dirty="0"/>
          </a:p>
        </p:txBody>
      </p:sp>
      <p:sp>
        <p:nvSpPr>
          <p:cNvPr id="7" name="Tijdelijke aanduiding voor dianummer 6"/>
          <p:cNvSpPr>
            <a:spLocks noGrp="1"/>
          </p:cNvSpPr>
          <p:nvPr>
            <p:ph type="sldNum" sz="quarter" idx="5"/>
          </p:nvPr>
        </p:nvSpPr>
        <p:spPr bwMode="gray">
          <a:xfrm>
            <a:off x="3884613" y="8685213"/>
            <a:ext cx="2971800" cy="457200"/>
          </a:xfrm>
          <a:prstGeom prst="rect">
            <a:avLst/>
          </a:prstGeom>
        </p:spPr>
        <p:txBody>
          <a:bodyPr vert="horz" lIns="91440" tIns="45720" rIns="91440" bIns="45720" rtlCol="0" anchor="b"/>
          <a:lstStyle>
            <a:lvl1pPr algn="r">
              <a:defRPr sz="1200"/>
            </a:lvl1pPr>
          </a:lstStyle>
          <a:p>
            <a:fld id="{697381A9-0C9E-4D3A-A28B-AC4E168A57BC}" type="slidenum">
              <a:rPr lang="nl-NL" smtClean="0"/>
              <a:pPr/>
              <a:t>‹nr.›</a:t>
            </a:fld>
            <a:endParaRPr lang="nl-NL" dirty="0"/>
          </a:p>
        </p:txBody>
      </p:sp>
    </p:spTree>
    <p:extLst>
      <p:ext uri="{BB962C8B-B14F-4D97-AF65-F5344CB8AC3E}">
        <p14:creationId xmlns:p14="http://schemas.microsoft.com/office/powerpoint/2010/main" val="3545252254"/>
      </p:ext>
    </p:extLst>
  </p:cSld>
  <p:clrMap bg1="lt1" tx1="dk1" bg2="lt2" tx2="dk2" accent1="accent1" accent2="accent2" accent3="accent3" accent4="accent4" accent5="accent5" accent6="accent6" hlink="hlink" folHlink="folHlink"/>
  <p:notesStyle>
    <a:lvl1pPr marL="0" algn="l" defTabSz="1088502" rtl="0" eaLnBrk="1" latinLnBrk="0" hangingPunct="1">
      <a:defRPr sz="1400" kern="1200">
        <a:solidFill>
          <a:schemeClr val="tx1"/>
        </a:solidFill>
        <a:latin typeface="+mn-lt"/>
        <a:ea typeface="+mn-ea"/>
        <a:cs typeface="+mn-cs"/>
      </a:defRPr>
    </a:lvl1pPr>
    <a:lvl2pPr marL="544251" algn="l" defTabSz="1088502" rtl="0" eaLnBrk="1" latinLnBrk="0" hangingPunct="1">
      <a:defRPr sz="1400" kern="1200">
        <a:solidFill>
          <a:schemeClr val="tx1"/>
        </a:solidFill>
        <a:latin typeface="+mn-lt"/>
        <a:ea typeface="+mn-ea"/>
        <a:cs typeface="+mn-cs"/>
      </a:defRPr>
    </a:lvl2pPr>
    <a:lvl3pPr marL="1088502" algn="l" defTabSz="1088502" rtl="0" eaLnBrk="1" latinLnBrk="0" hangingPunct="1">
      <a:defRPr sz="1400" kern="1200">
        <a:solidFill>
          <a:schemeClr val="tx1"/>
        </a:solidFill>
        <a:latin typeface="+mn-lt"/>
        <a:ea typeface="+mn-ea"/>
        <a:cs typeface="+mn-cs"/>
      </a:defRPr>
    </a:lvl3pPr>
    <a:lvl4pPr marL="1632753" algn="l" defTabSz="1088502" rtl="0" eaLnBrk="1" latinLnBrk="0" hangingPunct="1">
      <a:defRPr sz="1400" kern="1200">
        <a:solidFill>
          <a:schemeClr val="tx1"/>
        </a:solidFill>
        <a:latin typeface="+mn-lt"/>
        <a:ea typeface="+mn-ea"/>
        <a:cs typeface="+mn-cs"/>
      </a:defRPr>
    </a:lvl4pPr>
    <a:lvl5pPr marL="2177004" algn="l" defTabSz="1088502" rtl="0" eaLnBrk="1" latinLnBrk="0" hangingPunct="1">
      <a:defRPr sz="1400" kern="1200">
        <a:solidFill>
          <a:schemeClr val="tx1"/>
        </a:solidFill>
        <a:latin typeface="+mn-lt"/>
        <a:ea typeface="+mn-ea"/>
        <a:cs typeface="+mn-cs"/>
      </a:defRPr>
    </a:lvl5pPr>
    <a:lvl6pPr marL="2721254" algn="l" defTabSz="1088502" rtl="0" eaLnBrk="1" latinLnBrk="0" hangingPunct="1">
      <a:defRPr sz="1400" kern="1200">
        <a:solidFill>
          <a:schemeClr val="tx1"/>
        </a:solidFill>
        <a:latin typeface="+mn-lt"/>
        <a:ea typeface="+mn-ea"/>
        <a:cs typeface="+mn-cs"/>
      </a:defRPr>
    </a:lvl6pPr>
    <a:lvl7pPr marL="3265505" algn="l" defTabSz="1088502" rtl="0" eaLnBrk="1" latinLnBrk="0" hangingPunct="1">
      <a:defRPr sz="1400" kern="1200">
        <a:solidFill>
          <a:schemeClr val="tx1"/>
        </a:solidFill>
        <a:latin typeface="+mn-lt"/>
        <a:ea typeface="+mn-ea"/>
        <a:cs typeface="+mn-cs"/>
      </a:defRPr>
    </a:lvl7pPr>
    <a:lvl8pPr marL="3809756" algn="l" defTabSz="1088502" rtl="0" eaLnBrk="1" latinLnBrk="0" hangingPunct="1">
      <a:defRPr sz="1400" kern="1200">
        <a:solidFill>
          <a:schemeClr val="tx1"/>
        </a:solidFill>
        <a:latin typeface="+mn-lt"/>
        <a:ea typeface="+mn-ea"/>
        <a:cs typeface="+mn-cs"/>
      </a:defRPr>
    </a:lvl8pPr>
    <a:lvl9pPr marL="4354007" algn="l" defTabSz="1088502"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1</a:t>
            </a:fld>
            <a:endParaRPr lang="nl-NL" dirty="0"/>
          </a:p>
        </p:txBody>
      </p:sp>
    </p:spTree>
    <p:extLst>
      <p:ext uri="{BB962C8B-B14F-4D97-AF65-F5344CB8AC3E}">
        <p14:creationId xmlns:p14="http://schemas.microsoft.com/office/powerpoint/2010/main" val="30549076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2</a:t>
            </a:fld>
            <a:endParaRPr lang="nl-NL" dirty="0"/>
          </a:p>
        </p:txBody>
      </p:sp>
    </p:spTree>
    <p:extLst>
      <p:ext uri="{BB962C8B-B14F-4D97-AF65-F5344CB8AC3E}">
        <p14:creationId xmlns:p14="http://schemas.microsoft.com/office/powerpoint/2010/main" val="19238656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1088502" rtl="0" eaLnBrk="1" fontAlgn="auto" latinLnBrk="0" hangingPunct="1">
              <a:lnSpc>
                <a:spcPct val="100000"/>
              </a:lnSpc>
              <a:spcBef>
                <a:spcPts val="0"/>
              </a:spcBef>
              <a:spcAft>
                <a:spcPts val="0"/>
              </a:spcAft>
              <a:buClrTx/>
              <a:buSzTx/>
              <a:buFontTx/>
              <a:buNone/>
              <a:tabLst/>
              <a:defRPr/>
            </a:pPr>
            <a:fld id="{697381A9-0C9E-4D3A-A28B-AC4E168A57BC}" type="slidenum">
              <a:rPr kumimoji="0" lang="nl-NL" sz="12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1088502" rtl="0" eaLnBrk="1" fontAlgn="auto" latinLnBrk="0" hangingPunct="1">
                <a:lnSpc>
                  <a:spcPct val="100000"/>
                </a:lnSpc>
                <a:spcBef>
                  <a:spcPts val="0"/>
                </a:spcBef>
                <a:spcAft>
                  <a:spcPts val="0"/>
                </a:spcAft>
                <a:buClrTx/>
                <a:buSzTx/>
                <a:buFontTx/>
                <a:buNone/>
                <a:tabLst/>
                <a:defRPr/>
              </a:pPr>
              <a:t>3</a:t>
            </a:fld>
            <a:endParaRPr kumimoji="0" lang="nl-NL" sz="12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279404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4</a:t>
            </a:fld>
            <a:endParaRPr lang="nl-NL" dirty="0"/>
          </a:p>
        </p:txBody>
      </p:sp>
    </p:spTree>
    <p:extLst>
      <p:ext uri="{BB962C8B-B14F-4D97-AF65-F5344CB8AC3E}">
        <p14:creationId xmlns:p14="http://schemas.microsoft.com/office/powerpoint/2010/main" val="12665060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5</a:t>
            </a:fld>
            <a:endParaRPr lang="nl-NL" dirty="0"/>
          </a:p>
        </p:txBody>
      </p:sp>
    </p:spTree>
    <p:extLst>
      <p:ext uri="{BB962C8B-B14F-4D97-AF65-F5344CB8AC3E}">
        <p14:creationId xmlns:p14="http://schemas.microsoft.com/office/powerpoint/2010/main" val="4023228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6</a:t>
            </a:fld>
            <a:endParaRPr lang="nl-NL" dirty="0"/>
          </a:p>
        </p:txBody>
      </p:sp>
    </p:spTree>
    <p:extLst>
      <p:ext uri="{BB962C8B-B14F-4D97-AF65-F5344CB8AC3E}">
        <p14:creationId xmlns:p14="http://schemas.microsoft.com/office/powerpoint/2010/main" val="40457369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7</a:t>
            </a:fld>
            <a:endParaRPr lang="nl-NL" dirty="0"/>
          </a:p>
        </p:txBody>
      </p:sp>
    </p:spTree>
    <p:extLst>
      <p:ext uri="{BB962C8B-B14F-4D97-AF65-F5344CB8AC3E}">
        <p14:creationId xmlns:p14="http://schemas.microsoft.com/office/powerpoint/2010/main" val="3333470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8</a:t>
            </a:fld>
            <a:endParaRPr lang="nl-NL" dirty="0"/>
          </a:p>
        </p:txBody>
      </p:sp>
    </p:spTree>
    <p:extLst>
      <p:ext uri="{BB962C8B-B14F-4D97-AF65-F5344CB8AC3E}">
        <p14:creationId xmlns:p14="http://schemas.microsoft.com/office/powerpoint/2010/main" val="32381510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 blauw">
    <p:spTree>
      <p:nvGrpSpPr>
        <p:cNvPr id="1" name=""/>
        <p:cNvGrpSpPr/>
        <p:nvPr/>
      </p:nvGrpSpPr>
      <p:grpSpPr>
        <a:xfrm>
          <a:off x="0" y="0"/>
          <a:ext cx="0" cy="0"/>
          <a:chOff x="0" y="0"/>
          <a:chExt cx="0" cy="0"/>
        </a:xfrm>
      </p:grpSpPr>
      <p:sp>
        <p:nvSpPr>
          <p:cNvPr id="10" name="Rectangle 3"/>
          <p:cNvSpPr>
            <a:spLocks noSelect="1" noChangeArrowheads="1"/>
          </p:cNvSpPr>
          <p:nvPr userDrawn="1"/>
        </p:nvSpPr>
        <p:spPr bwMode="gray">
          <a:xfrm>
            <a:off x="0" y="0"/>
            <a:ext cx="12189600" cy="1709738"/>
          </a:xfrm>
          <a:prstGeom prst="rect">
            <a:avLst/>
          </a:prstGeom>
          <a:solidFill>
            <a:schemeClr val="accent2"/>
          </a:solidFill>
          <a:ln>
            <a:noFill/>
          </a:ln>
          <a:effectLst/>
        </p:spPr>
        <p:txBody>
          <a:bodyPr wrap="none" anchor="ctr"/>
          <a:lstStyle/>
          <a:p>
            <a:pPr eaLnBrk="1" hangingPunct="1">
              <a:defRPr/>
            </a:pPr>
            <a:endParaRPr lang="nl-NL" dirty="0">
              <a:latin typeface="Arial Black" charset="0"/>
            </a:endParaRPr>
          </a:p>
        </p:txBody>
      </p:sp>
      <p:sp>
        <p:nvSpPr>
          <p:cNvPr id="15" name="Rechthoek 14"/>
          <p:cNvSpPr>
            <a:spLocks noSelect="1"/>
          </p:cNvSpPr>
          <p:nvPr userDrawn="1"/>
        </p:nvSpPr>
        <p:spPr bwMode="gray">
          <a:xfrm>
            <a:off x="813" y="1711033"/>
            <a:ext cx="12189600" cy="450000"/>
          </a:xfrm>
          <a:prstGeom prst="rect">
            <a:avLst/>
          </a:prstGeom>
          <a:solidFill>
            <a:srgbClr val="001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0" name="Freeform 5"/>
          <p:cNvSpPr>
            <a:spLocks noSelect="1"/>
          </p:cNvSpPr>
          <p:nvPr userDrawn="1"/>
        </p:nvSpPr>
        <p:spPr bwMode="gray">
          <a:xfrm>
            <a:off x="1089025" y="1876425"/>
            <a:ext cx="2944813" cy="114300"/>
          </a:xfrm>
          <a:custGeom>
            <a:avLst/>
            <a:gdLst>
              <a:gd name="T0" fmla="*/ 6618 w 9279"/>
              <a:gd name="T1" fmla="*/ 356 h 356"/>
              <a:gd name="T2" fmla="*/ 6602 w 9279"/>
              <a:gd name="T3" fmla="*/ 290 h 356"/>
              <a:gd name="T4" fmla="*/ 6540 w 9279"/>
              <a:gd name="T5" fmla="*/ 124 h 356"/>
              <a:gd name="T6" fmla="*/ 6938 w 9279"/>
              <a:gd name="T7" fmla="*/ 78 h 356"/>
              <a:gd name="T8" fmla="*/ 6618 w 9279"/>
              <a:gd name="T9" fmla="*/ 64 h 356"/>
              <a:gd name="T10" fmla="*/ 8373 w 9279"/>
              <a:gd name="T11" fmla="*/ 222 h 356"/>
              <a:gd name="T12" fmla="*/ 8186 w 9279"/>
              <a:gd name="T13" fmla="*/ 222 h 356"/>
              <a:gd name="T14" fmla="*/ 8421 w 9279"/>
              <a:gd name="T15" fmla="*/ 0 h 356"/>
              <a:gd name="T16" fmla="*/ 8373 w 9279"/>
              <a:gd name="T17" fmla="*/ 222 h 356"/>
              <a:gd name="T18" fmla="*/ 8384 w 9279"/>
              <a:gd name="T19" fmla="*/ 61 h 356"/>
              <a:gd name="T20" fmla="*/ 2014 w 9279"/>
              <a:gd name="T21" fmla="*/ 237 h 356"/>
              <a:gd name="T22" fmla="*/ 1731 w 9279"/>
              <a:gd name="T23" fmla="*/ 356 h 356"/>
              <a:gd name="T24" fmla="*/ 2092 w 9279"/>
              <a:gd name="T25" fmla="*/ 0 h 356"/>
              <a:gd name="T26" fmla="*/ 2643 w 9279"/>
              <a:gd name="T27" fmla="*/ 286 h 356"/>
              <a:gd name="T28" fmla="*/ 2556 w 9279"/>
              <a:gd name="T29" fmla="*/ 0 h 356"/>
              <a:gd name="T30" fmla="*/ 2643 w 9279"/>
              <a:gd name="T31" fmla="*/ 241 h 356"/>
              <a:gd name="T32" fmla="*/ 2555 w 9279"/>
              <a:gd name="T33" fmla="*/ 83 h 356"/>
              <a:gd name="T34" fmla="*/ 2559 w 9279"/>
              <a:gd name="T35" fmla="*/ 233 h 356"/>
              <a:gd name="T36" fmla="*/ 2517 w 9279"/>
              <a:gd name="T37" fmla="*/ 292 h 356"/>
              <a:gd name="T38" fmla="*/ 8980 w 9279"/>
              <a:gd name="T39" fmla="*/ 202 h 356"/>
              <a:gd name="T40" fmla="*/ 8980 w 9279"/>
              <a:gd name="T41" fmla="*/ 63 h 356"/>
              <a:gd name="T42" fmla="*/ 8893 w 9279"/>
              <a:gd name="T43" fmla="*/ 356 h 356"/>
              <a:gd name="T44" fmla="*/ 1227 w 9279"/>
              <a:gd name="T45" fmla="*/ 202 h 356"/>
              <a:gd name="T46" fmla="*/ 1227 w 9279"/>
              <a:gd name="T47" fmla="*/ 63 h 356"/>
              <a:gd name="T48" fmla="*/ 1140 w 9279"/>
              <a:gd name="T49" fmla="*/ 356 h 356"/>
              <a:gd name="T50" fmla="*/ 1227 w 9279"/>
              <a:gd name="T51" fmla="*/ 202 h 356"/>
              <a:gd name="T52" fmla="*/ 93 w 9279"/>
              <a:gd name="T53" fmla="*/ 356 h 356"/>
              <a:gd name="T54" fmla="*/ 368 w 9279"/>
              <a:gd name="T55" fmla="*/ 0 h 356"/>
              <a:gd name="T56" fmla="*/ 87 w 9279"/>
              <a:gd name="T57" fmla="*/ 288 h 356"/>
              <a:gd name="T58" fmla="*/ 1015 w 9279"/>
              <a:gd name="T59" fmla="*/ 148 h 356"/>
              <a:gd name="T60" fmla="*/ 611 w 9279"/>
              <a:gd name="T61" fmla="*/ 356 h 356"/>
              <a:gd name="T62" fmla="*/ 934 w 9279"/>
              <a:gd name="T63" fmla="*/ 90 h 356"/>
              <a:gd name="T64" fmla="*/ 895 w 9279"/>
              <a:gd name="T65" fmla="*/ 156 h 356"/>
              <a:gd name="T66" fmla="*/ 8735 w 9279"/>
              <a:gd name="T67" fmla="*/ 356 h 356"/>
              <a:gd name="T68" fmla="*/ 6051 w 9279"/>
              <a:gd name="T69" fmla="*/ 237 h 356"/>
              <a:gd name="T70" fmla="*/ 5768 w 9279"/>
              <a:gd name="T71" fmla="*/ 356 h 356"/>
              <a:gd name="T72" fmla="*/ 6129 w 9279"/>
              <a:gd name="T73" fmla="*/ 0 h 356"/>
              <a:gd name="T74" fmla="*/ 5444 w 9279"/>
              <a:gd name="T75" fmla="*/ 178 h 356"/>
              <a:gd name="T76" fmla="*/ 5531 w 9279"/>
              <a:gd name="T77" fmla="*/ 178 h 356"/>
              <a:gd name="T78" fmla="*/ 6288 w 9279"/>
              <a:gd name="T79" fmla="*/ 356 h 356"/>
              <a:gd name="T80" fmla="*/ 6288 w 9279"/>
              <a:gd name="T81" fmla="*/ 356 h 356"/>
              <a:gd name="T82" fmla="*/ 4798 w 9279"/>
              <a:gd name="T83" fmla="*/ 356 h 356"/>
              <a:gd name="T84" fmla="*/ 5046 w 9279"/>
              <a:gd name="T85" fmla="*/ 313 h 356"/>
              <a:gd name="T86" fmla="*/ 5286 w 9279"/>
              <a:gd name="T87" fmla="*/ 0 h 356"/>
              <a:gd name="T88" fmla="*/ 3804 w 9279"/>
              <a:gd name="T89" fmla="*/ 356 h 356"/>
              <a:gd name="T90" fmla="*/ 3381 w 9279"/>
              <a:gd name="T91" fmla="*/ 356 h 356"/>
              <a:gd name="T92" fmla="*/ 3626 w 9279"/>
              <a:gd name="T93" fmla="*/ 213 h 356"/>
              <a:gd name="T94" fmla="*/ 7676 w 9279"/>
              <a:gd name="T95" fmla="*/ 202 h 356"/>
              <a:gd name="T96" fmla="*/ 7676 w 9279"/>
              <a:gd name="T97" fmla="*/ 63 h 356"/>
              <a:gd name="T98" fmla="*/ 7589 w 9279"/>
              <a:gd name="T99" fmla="*/ 356 h 356"/>
              <a:gd name="T100" fmla="*/ 7676 w 9279"/>
              <a:gd name="T101" fmla="*/ 202 h 356"/>
              <a:gd name="T102" fmla="*/ 4060 w 9279"/>
              <a:gd name="T103" fmla="*/ 221 h 356"/>
              <a:gd name="T104" fmla="*/ 3892 w 9279"/>
              <a:gd name="T105" fmla="*/ 0 h 356"/>
              <a:gd name="T106" fmla="*/ 4213 w 9279"/>
              <a:gd name="T107" fmla="*/ 221 h 356"/>
              <a:gd name="T108" fmla="*/ 4216 w 9279"/>
              <a:gd name="T109" fmla="*/ 90 h 356"/>
              <a:gd name="T110" fmla="*/ 4176 w 9279"/>
              <a:gd name="T111" fmla="*/ 160 h 356"/>
              <a:gd name="T112" fmla="*/ 3088 w 9279"/>
              <a:gd name="T113" fmla="*/ 278 h 356"/>
              <a:gd name="T114" fmla="*/ 2932 w 9279"/>
              <a:gd name="T115" fmla="*/ 0 h 356"/>
              <a:gd name="T116" fmla="*/ 2889 w 9279"/>
              <a:gd name="T117" fmla="*/ 213 h 356"/>
              <a:gd name="T118" fmla="*/ 7217 w 9279"/>
              <a:gd name="T119" fmla="*/ 356 h 356"/>
              <a:gd name="T120" fmla="*/ 7477 w 9279"/>
              <a:gd name="T121"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79" h="356">
                <a:moveTo>
                  <a:pt x="6942" y="223"/>
                </a:moveTo>
                <a:cubicBezTo>
                  <a:pt x="6942" y="272"/>
                  <a:pt x="6942" y="272"/>
                  <a:pt x="6942" y="272"/>
                </a:cubicBezTo>
                <a:cubicBezTo>
                  <a:pt x="6942" y="339"/>
                  <a:pt x="6920" y="356"/>
                  <a:pt x="6849" y="356"/>
                </a:cubicBezTo>
                <a:cubicBezTo>
                  <a:pt x="6618" y="356"/>
                  <a:pt x="6618" y="356"/>
                  <a:pt x="6618" y="356"/>
                </a:cubicBezTo>
                <a:cubicBezTo>
                  <a:pt x="6547" y="356"/>
                  <a:pt x="6524" y="339"/>
                  <a:pt x="6524" y="272"/>
                </a:cubicBezTo>
                <a:cubicBezTo>
                  <a:pt x="6524" y="262"/>
                  <a:pt x="6524" y="262"/>
                  <a:pt x="6524" y="262"/>
                </a:cubicBezTo>
                <a:cubicBezTo>
                  <a:pt x="6602" y="248"/>
                  <a:pt x="6602" y="248"/>
                  <a:pt x="6602" y="248"/>
                </a:cubicBezTo>
                <a:cubicBezTo>
                  <a:pt x="6602" y="290"/>
                  <a:pt x="6602" y="290"/>
                  <a:pt x="6602" y="290"/>
                </a:cubicBezTo>
                <a:cubicBezTo>
                  <a:pt x="6864" y="290"/>
                  <a:pt x="6864" y="290"/>
                  <a:pt x="6864" y="290"/>
                </a:cubicBezTo>
                <a:cubicBezTo>
                  <a:pt x="6864" y="208"/>
                  <a:pt x="6864" y="208"/>
                  <a:pt x="6864" y="208"/>
                </a:cubicBezTo>
                <a:cubicBezTo>
                  <a:pt x="6633" y="208"/>
                  <a:pt x="6633" y="208"/>
                  <a:pt x="6633" y="208"/>
                </a:cubicBezTo>
                <a:cubicBezTo>
                  <a:pt x="6563" y="208"/>
                  <a:pt x="6540" y="191"/>
                  <a:pt x="6540" y="124"/>
                </a:cubicBezTo>
                <a:cubicBezTo>
                  <a:pt x="6540" y="84"/>
                  <a:pt x="6540" y="84"/>
                  <a:pt x="6540" y="84"/>
                </a:cubicBezTo>
                <a:cubicBezTo>
                  <a:pt x="6540" y="17"/>
                  <a:pt x="6563" y="0"/>
                  <a:pt x="6633" y="0"/>
                </a:cubicBezTo>
                <a:cubicBezTo>
                  <a:pt x="6844" y="0"/>
                  <a:pt x="6844" y="0"/>
                  <a:pt x="6844" y="0"/>
                </a:cubicBezTo>
                <a:cubicBezTo>
                  <a:pt x="6910" y="0"/>
                  <a:pt x="6938" y="15"/>
                  <a:pt x="6938" y="78"/>
                </a:cubicBezTo>
                <a:cubicBezTo>
                  <a:pt x="6938" y="86"/>
                  <a:pt x="6938" y="86"/>
                  <a:pt x="6938" y="86"/>
                </a:cubicBezTo>
                <a:cubicBezTo>
                  <a:pt x="6863" y="102"/>
                  <a:pt x="6863" y="102"/>
                  <a:pt x="6863" y="102"/>
                </a:cubicBezTo>
                <a:cubicBezTo>
                  <a:pt x="6863" y="64"/>
                  <a:pt x="6863" y="64"/>
                  <a:pt x="6863" y="64"/>
                </a:cubicBezTo>
                <a:cubicBezTo>
                  <a:pt x="6618" y="64"/>
                  <a:pt x="6618" y="64"/>
                  <a:pt x="6618" y="64"/>
                </a:cubicBezTo>
                <a:cubicBezTo>
                  <a:pt x="6618" y="139"/>
                  <a:pt x="6618" y="139"/>
                  <a:pt x="6618" y="139"/>
                </a:cubicBezTo>
                <a:cubicBezTo>
                  <a:pt x="6849" y="139"/>
                  <a:pt x="6849" y="139"/>
                  <a:pt x="6849" y="139"/>
                </a:cubicBezTo>
                <a:cubicBezTo>
                  <a:pt x="6920" y="139"/>
                  <a:pt x="6942" y="156"/>
                  <a:pt x="6942" y="223"/>
                </a:cubicBezTo>
                <a:close/>
                <a:moveTo>
                  <a:pt x="8373" y="222"/>
                </a:moveTo>
                <a:cubicBezTo>
                  <a:pt x="8542" y="356"/>
                  <a:pt x="8542" y="356"/>
                  <a:pt x="8542" y="356"/>
                </a:cubicBezTo>
                <a:cubicBezTo>
                  <a:pt x="8417" y="356"/>
                  <a:pt x="8417" y="356"/>
                  <a:pt x="8417" y="356"/>
                </a:cubicBezTo>
                <a:cubicBezTo>
                  <a:pt x="8268" y="222"/>
                  <a:pt x="8268" y="222"/>
                  <a:pt x="8268" y="222"/>
                </a:cubicBezTo>
                <a:cubicBezTo>
                  <a:pt x="8186" y="222"/>
                  <a:pt x="8186" y="222"/>
                  <a:pt x="8186" y="222"/>
                </a:cubicBezTo>
                <a:cubicBezTo>
                  <a:pt x="8186" y="356"/>
                  <a:pt x="8186" y="356"/>
                  <a:pt x="8186" y="356"/>
                </a:cubicBezTo>
                <a:cubicBezTo>
                  <a:pt x="8101" y="356"/>
                  <a:pt x="8101" y="356"/>
                  <a:pt x="8101" y="356"/>
                </a:cubicBezTo>
                <a:cubicBezTo>
                  <a:pt x="8101" y="0"/>
                  <a:pt x="8101" y="0"/>
                  <a:pt x="8101" y="0"/>
                </a:cubicBezTo>
                <a:cubicBezTo>
                  <a:pt x="8421" y="0"/>
                  <a:pt x="8421" y="0"/>
                  <a:pt x="8421" y="0"/>
                </a:cubicBezTo>
                <a:cubicBezTo>
                  <a:pt x="8479" y="0"/>
                  <a:pt x="8505" y="19"/>
                  <a:pt x="8505" y="69"/>
                </a:cubicBezTo>
                <a:cubicBezTo>
                  <a:pt x="8505" y="153"/>
                  <a:pt x="8505" y="153"/>
                  <a:pt x="8505" y="153"/>
                </a:cubicBezTo>
                <a:cubicBezTo>
                  <a:pt x="8505" y="202"/>
                  <a:pt x="8479" y="222"/>
                  <a:pt x="8421" y="222"/>
                </a:cubicBezTo>
                <a:lnTo>
                  <a:pt x="8373" y="222"/>
                </a:lnTo>
                <a:close/>
                <a:moveTo>
                  <a:pt x="8384" y="160"/>
                </a:moveTo>
                <a:cubicBezTo>
                  <a:pt x="8410" y="160"/>
                  <a:pt x="8424" y="155"/>
                  <a:pt x="8424" y="131"/>
                </a:cubicBezTo>
                <a:cubicBezTo>
                  <a:pt x="8424" y="90"/>
                  <a:pt x="8424" y="90"/>
                  <a:pt x="8424" y="90"/>
                </a:cubicBezTo>
                <a:cubicBezTo>
                  <a:pt x="8424" y="67"/>
                  <a:pt x="8410" y="61"/>
                  <a:pt x="8384" y="61"/>
                </a:cubicBezTo>
                <a:cubicBezTo>
                  <a:pt x="8186" y="61"/>
                  <a:pt x="8186" y="61"/>
                  <a:pt x="8186" y="61"/>
                </a:cubicBezTo>
                <a:cubicBezTo>
                  <a:pt x="8186" y="160"/>
                  <a:pt x="8186" y="160"/>
                  <a:pt x="8186" y="160"/>
                </a:cubicBezTo>
                <a:lnTo>
                  <a:pt x="8384" y="160"/>
                </a:lnTo>
                <a:close/>
                <a:moveTo>
                  <a:pt x="2014" y="237"/>
                </a:moveTo>
                <a:cubicBezTo>
                  <a:pt x="1711" y="0"/>
                  <a:pt x="1711" y="0"/>
                  <a:pt x="1711" y="0"/>
                </a:cubicBezTo>
                <a:cubicBezTo>
                  <a:pt x="1652" y="0"/>
                  <a:pt x="1652" y="0"/>
                  <a:pt x="1652" y="0"/>
                </a:cubicBezTo>
                <a:cubicBezTo>
                  <a:pt x="1652" y="356"/>
                  <a:pt x="1652" y="356"/>
                  <a:pt x="1652" y="356"/>
                </a:cubicBezTo>
                <a:cubicBezTo>
                  <a:pt x="1731" y="356"/>
                  <a:pt x="1731" y="356"/>
                  <a:pt x="1731" y="356"/>
                </a:cubicBezTo>
                <a:cubicBezTo>
                  <a:pt x="1731" y="116"/>
                  <a:pt x="1731" y="116"/>
                  <a:pt x="1731" y="116"/>
                </a:cubicBezTo>
                <a:cubicBezTo>
                  <a:pt x="2032" y="356"/>
                  <a:pt x="2032" y="356"/>
                  <a:pt x="2032" y="356"/>
                </a:cubicBezTo>
                <a:cubicBezTo>
                  <a:pt x="2092" y="356"/>
                  <a:pt x="2092" y="356"/>
                  <a:pt x="2092" y="356"/>
                </a:cubicBezTo>
                <a:cubicBezTo>
                  <a:pt x="2092" y="0"/>
                  <a:pt x="2092" y="0"/>
                  <a:pt x="2092" y="0"/>
                </a:cubicBezTo>
                <a:cubicBezTo>
                  <a:pt x="2014" y="0"/>
                  <a:pt x="2014" y="0"/>
                  <a:pt x="2014" y="0"/>
                </a:cubicBezTo>
                <a:lnTo>
                  <a:pt x="2014" y="237"/>
                </a:lnTo>
                <a:close/>
                <a:moveTo>
                  <a:pt x="2643" y="241"/>
                </a:moveTo>
                <a:cubicBezTo>
                  <a:pt x="2643" y="286"/>
                  <a:pt x="2643" y="286"/>
                  <a:pt x="2643" y="286"/>
                </a:cubicBezTo>
                <a:cubicBezTo>
                  <a:pt x="2643" y="334"/>
                  <a:pt x="2606" y="356"/>
                  <a:pt x="2533" y="356"/>
                </a:cubicBezTo>
                <a:cubicBezTo>
                  <a:pt x="2236" y="356"/>
                  <a:pt x="2236" y="356"/>
                  <a:pt x="2236" y="356"/>
                </a:cubicBezTo>
                <a:cubicBezTo>
                  <a:pt x="2236" y="0"/>
                  <a:pt x="2236" y="0"/>
                  <a:pt x="2236" y="0"/>
                </a:cubicBezTo>
                <a:cubicBezTo>
                  <a:pt x="2556" y="0"/>
                  <a:pt x="2556" y="0"/>
                  <a:pt x="2556" y="0"/>
                </a:cubicBezTo>
                <a:cubicBezTo>
                  <a:pt x="2613" y="0"/>
                  <a:pt x="2640" y="19"/>
                  <a:pt x="2640" y="69"/>
                </a:cubicBezTo>
                <a:cubicBezTo>
                  <a:pt x="2640" y="112"/>
                  <a:pt x="2640" y="112"/>
                  <a:pt x="2640" y="112"/>
                </a:cubicBezTo>
                <a:cubicBezTo>
                  <a:pt x="2640" y="145"/>
                  <a:pt x="2619" y="166"/>
                  <a:pt x="2580" y="173"/>
                </a:cubicBezTo>
                <a:cubicBezTo>
                  <a:pt x="2620" y="179"/>
                  <a:pt x="2643" y="205"/>
                  <a:pt x="2643" y="241"/>
                </a:cubicBezTo>
                <a:close/>
                <a:moveTo>
                  <a:pt x="2322" y="142"/>
                </a:moveTo>
                <a:cubicBezTo>
                  <a:pt x="2517" y="142"/>
                  <a:pt x="2517" y="142"/>
                  <a:pt x="2517" y="142"/>
                </a:cubicBezTo>
                <a:cubicBezTo>
                  <a:pt x="2543" y="142"/>
                  <a:pt x="2555" y="138"/>
                  <a:pt x="2555" y="117"/>
                </a:cubicBezTo>
                <a:cubicBezTo>
                  <a:pt x="2555" y="83"/>
                  <a:pt x="2555" y="83"/>
                  <a:pt x="2555" y="83"/>
                </a:cubicBezTo>
                <a:cubicBezTo>
                  <a:pt x="2555" y="62"/>
                  <a:pt x="2544" y="58"/>
                  <a:pt x="2517" y="58"/>
                </a:cubicBezTo>
                <a:cubicBezTo>
                  <a:pt x="2322" y="58"/>
                  <a:pt x="2322" y="58"/>
                  <a:pt x="2322" y="58"/>
                </a:cubicBezTo>
                <a:lnTo>
                  <a:pt x="2322" y="142"/>
                </a:lnTo>
                <a:close/>
                <a:moveTo>
                  <a:pt x="2559" y="233"/>
                </a:moveTo>
                <a:cubicBezTo>
                  <a:pt x="2559" y="207"/>
                  <a:pt x="2546" y="201"/>
                  <a:pt x="2517" y="201"/>
                </a:cubicBezTo>
                <a:cubicBezTo>
                  <a:pt x="2322" y="201"/>
                  <a:pt x="2322" y="201"/>
                  <a:pt x="2322" y="201"/>
                </a:cubicBezTo>
                <a:cubicBezTo>
                  <a:pt x="2322" y="292"/>
                  <a:pt x="2322" y="292"/>
                  <a:pt x="2322" y="292"/>
                </a:cubicBezTo>
                <a:cubicBezTo>
                  <a:pt x="2517" y="292"/>
                  <a:pt x="2517" y="292"/>
                  <a:pt x="2517" y="292"/>
                </a:cubicBezTo>
                <a:cubicBezTo>
                  <a:pt x="2546" y="292"/>
                  <a:pt x="2559" y="286"/>
                  <a:pt x="2559" y="260"/>
                </a:cubicBezTo>
                <a:lnTo>
                  <a:pt x="2559" y="233"/>
                </a:lnTo>
                <a:close/>
                <a:moveTo>
                  <a:pt x="8980" y="290"/>
                </a:moveTo>
                <a:cubicBezTo>
                  <a:pt x="8980" y="202"/>
                  <a:pt x="8980" y="202"/>
                  <a:pt x="8980" y="202"/>
                </a:cubicBezTo>
                <a:cubicBezTo>
                  <a:pt x="9152" y="202"/>
                  <a:pt x="9152" y="202"/>
                  <a:pt x="9152" y="202"/>
                </a:cubicBezTo>
                <a:cubicBezTo>
                  <a:pt x="9152" y="141"/>
                  <a:pt x="9152" y="141"/>
                  <a:pt x="9152" y="141"/>
                </a:cubicBezTo>
                <a:cubicBezTo>
                  <a:pt x="8980" y="141"/>
                  <a:pt x="8980" y="141"/>
                  <a:pt x="8980" y="141"/>
                </a:cubicBezTo>
                <a:cubicBezTo>
                  <a:pt x="8980" y="63"/>
                  <a:pt x="8980" y="63"/>
                  <a:pt x="8980" y="63"/>
                </a:cubicBezTo>
                <a:cubicBezTo>
                  <a:pt x="9275" y="63"/>
                  <a:pt x="9275" y="63"/>
                  <a:pt x="9275" y="63"/>
                </a:cubicBezTo>
                <a:cubicBezTo>
                  <a:pt x="9275" y="0"/>
                  <a:pt x="9275" y="0"/>
                  <a:pt x="9275" y="0"/>
                </a:cubicBezTo>
                <a:cubicBezTo>
                  <a:pt x="8893" y="0"/>
                  <a:pt x="8893" y="0"/>
                  <a:pt x="8893" y="0"/>
                </a:cubicBezTo>
                <a:cubicBezTo>
                  <a:pt x="8893" y="356"/>
                  <a:pt x="8893" y="356"/>
                  <a:pt x="8893" y="356"/>
                </a:cubicBezTo>
                <a:cubicBezTo>
                  <a:pt x="9279" y="356"/>
                  <a:pt x="9279" y="356"/>
                  <a:pt x="9279" y="356"/>
                </a:cubicBezTo>
                <a:cubicBezTo>
                  <a:pt x="9279" y="290"/>
                  <a:pt x="9279" y="290"/>
                  <a:pt x="9279" y="290"/>
                </a:cubicBezTo>
                <a:lnTo>
                  <a:pt x="8980" y="290"/>
                </a:lnTo>
                <a:close/>
                <a:moveTo>
                  <a:pt x="1227" y="202"/>
                </a:moveTo>
                <a:cubicBezTo>
                  <a:pt x="1399" y="202"/>
                  <a:pt x="1399" y="202"/>
                  <a:pt x="1399" y="202"/>
                </a:cubicBezTo>
                <a:cubicBezTo>
                  <a:pt x="1399" y="141"/>
                  <a:pt x="1399" y="141"/>
                  <a:pt x="1399" y="141"/>
                </a:cubicBezTo>
                <a:cubicBezTo>
                  <a:pt x="1227" y="141"/>
                  <a:pt x="1227" y="141"/>
                  <a:pt x="1227" y="141"/>
                </a:cubicBezTo>
                <a:cubicBezTo>
                  <a:pt x="1227" y="63"/>
                  <a:pt x="1227" y="63"/>
                  <a:pt x="1227" y="63"/>
                </a:cubicBezTo>
                <a:cubicBezTo>
                  <a:pt x="1522" y="63"/>
                  <a:pt x="1522" y="63"/>
                  <a:pt x="1522" y="63"/>
                </a:cubicBezTo>
                <a:cubicBezTo>
                  <a:pt x="1522" y="0"/>
                  <a:pt x="1522" y="0"/>
                  <a:pt x="1522" y="0"/>
                </a:cubicBezTo>
                <a:cubicBezTo>
                  <a:pt x="1140" y="0"/>
                  <a:pt x="1140" y="0"/>
                  <a:pt x="1140" y="0"/>
                </a:cubicBezTo>
                <a:cubicBezTo>
                  <a:pt x="1140" y="356"/>
                  <a:pt x="1140" y="356"/>
                  <a:pt x="1140" y="356"/>
                </a:cubicBezTo>
                <a:cubicBezTo>
                  <a:pt x="1526" y="356"/>
                  <a:pt x="1526" y="356"/>
                  <a:pt x="1526" y="356"/>
                </a:cubicBezTo>
                <a:cubicBezTo>
                  <a:pt x="1526" y="290"/>
                  <a:pt x="1526" y="290"/>
                  <a:pt x="1526" y="290"/>
                </a:cubicBezTo>
                <a:cubicBezTo>
                  <a:pt x="1227" y="290"/>
                  <a:pt x="1227" y="290"/>
                  <a:pt x="1227" y="290"/>
                </a:cubicBezTo>
                <a:lnTo>
                  <a:pt x="1227" y="202"/>
                </a:lnTo>
                <a:close/>
                <a:moveTo>
                  <a:pt x="461" y="84"/>
                </a:moveTo>
                <a:cubicBezTo>
                  <a:pt x="461" y="272"/>
                  <a:pt x="461" y="272"/>
                  <a:pt x="461" y="272"/>
                </a:cubicBezTo>
                <a:cubicBezTo>
                  <a:pt x="461" y="339"/>
                  <a:pt x="438" y="356"/>
                  <a:pt x="368" y="356"/>
                </a:cubicBezTo>
                <a:cubicBezTo>
                  <a:pt x="93" y="356"/>
                  <a:pt x="93" y="356"/>
                  <a:pt x="93" y="356"/>
                </a:cubicBezTo>
                <a:cubicBezTo>
                  <a:pt x="22" y="356"/>
                  <a:pt x="0" y="339"/>
                  <a:pt x="0" y="272"/>
                </a:cubicBezTo>
                <a:cubicBezTo>
                  <a:pt x="0" y="84"/>
                  <a:pt x="0" y="84"/>
                  <a:pt x="0" y="84"/>
                </a:cubicBezTo>
                <a:cubicBezTo>
                  <a:pt x="0" y="16"/>
                  <a:pt x="23" y="0"/>
                  <a:pt x="93" y="0"/>
                </a:cubicBezTo>
                <a:cubicBezTo>
                  <a:pt x="368" y="0"/>
                  <a:pt x="368" y="0"/>
                  <a:pt x="368" y="0"/>
                </a:cubicBezTo>
                <a:cubicBezTo>
                  <a:pt x="438" y="0"/>
                  <a:pt x="461" y="16"/>
                  <a:pt x="461" y="84"/>
                </a:cubicBezTo>
                <a:close/>
                <a:moveTo>
                  <a:pt x="374" y="66"/>
                </a:moveTo>
                <a:cubicBezTo>
                  <a:pt x="87" y="66"/>
                  <a:pt x="87" y="66"/>
                  <a:pt x="87" y="66"/>
                </a:cubicBezTo>
                <a:cubicBezTo>
                  <a:pt x="87" y="288"/>
                  <a:pt x="87" y="288"/>
                  <a:pt x="87" y="288"/>
                </a:cubicBezTo>
                <a:cubicBezTo>
                  <a:pt x="374" y="288"/>
                  <a:pt x="374" y="288"/>
                  <a:pt x="374" y="288"/>
                </a:cubicBezTo>
                <a:lnTo>
                  <a:pt x="374" y="66"/>
                </a:lnTo>
                <a:close/>
                <a:moveTo>
                  <a:pt x="1015" y="69"/>
                </a:moveTo>
                <a:cubicBezTo>
                  <a:pt x="1015" y="148"/>
                  <a:pt x="1015" y="148"/>
                  <a:pt x="1015" y="148"/>
                </a:cubicBezTo>
                <a:cubicBezTo>
                  <a:pt x="1015" y="198"/>
                  <a:pt x="989" y="217"/>
                  <a:pt x="932" y="217"/>
                </a:cubicBezTo>
                <a:cubicBezTo>
                  <a:pt x="697" y="217"/>
                  <a:pt x="697" y="217"/>
                  <a:pt x="697" y="217"/>
                </a:cubicBezTo>
                <a:cubicBezTo>
                  <a:pt x="697" y="356"/>
                  <a:pt x="697" y="356"/>
                  <a:pt x="697" y="356"/>
                </a:cubicBezTo>
                <a:cubicBezTo>
                  <a:pt x="611" y="356"/>
                  <a:pt x="611" y="356"/>
                  <a:pt x="611" y="356"/>
                </a:cubicBezTo>
                <a:cubicBezTo>
                  <a:pt x="611" y="0"/>
                  <a:pt x="611" y="0"/>
                  <a:pt x="611" y="0"/>
                </a:cubicBezTo>
                <a:cubicBezTo>
                  <a:pt x="932" y="0"/>
                  <a:pt x="932" y="0"/>
                  <a:pt x="932" y="0"/>
                </a:cubicBezTo>
                <a:cubicBezTo>
                  <a:pt x="989" y="0"/>
                  <a:pt x="1015" y="19"/>
                  <a:pt x="1015" y="69"/>
                </a:cubicBezTo>
                <a:close/>
                <a:moveTo>
                  <a:pt x="934" y="90"/>
                </a:moveTo>
                <a:cubicBezTo>
                  <a:pt x="934" y="67"/>
                  <a:pt x="921" y="61"/>
                  <a:pt x="895" y="61"/>
                </a:cubicBezTo>
                <a:cubicBezTo>
                  <a:pt x="697" y="61"/>
                  <a:pt x="697" y="61"/>
                  <a:pt x="697" y="61"/>
                </a:cubicBezTo>
                <a:cubicBezTo>
                  <a:pt x="697" y="156"/>
                  <a:pt x="697" y="156"/>
                  <a:pt x="697" y="156"/>
                </a:cubicBezTo>
                <a:cubicBezTo>
                  <a:pt x="895" y="156"/>
                  <a:pt x="895" y="156"/>
                  <a:pt x="895" y="156"/>
                </a:cubicBezTo>
                <a:cubicBezTo>
                  <a:pt x="921" y="156"/>
                  <a:pt x="934" y="151"/>
                  <a:pt x="934" y="127"/>
                </a:cubicBezTo>
                <a:lnTo>
                  <a:pt x="934" y="90"/>
                </a:lnTo>
                <a:close/>
                <a:moveTo>
                  <a:pt x="8648" y="356"/>
                </a:moveTo>
                <a:cubicBezTo>
                  <a:pt x="8735" y="356"/>
                  <a:pt x="8735" y="356"/>
                  <a:pt x="8735" y="356"/>
                </a:cubicBezTo>
                <a:cubicBezTo>
                  <a:pt x="8735" y="0"/>
                  <a:pt x="8735" y="0"/>
                  <a:pt x="8735" y="0"/>
                </a:cubicBezTo>
                <a:cubicBezTo>
                  <a:pt x="8648" y="0"/>
                  <a:pt x="8648" y="0"/>
                  <a:pt x="8648" y="0"/>
                </a:cubicBezTo>
                <a:lnTo>
                  <a:pt x="8648" y="356"/>
                </a:lnTo>
                <a:close/>
                <a:moveTo>
                  <a:pt x="6051" y="237"/>
                </a:moveTo>
                <a:cubicBezTo>
                  <a:pt x="5749" y="0"/>
                  <a:pt x="5749" y="0"/>
                  <a:pt x="5749" y="0"/>
                </a:cubicBezTo>
                <a:cubicBezTo>
                  <a:pt x="5689" y="0"/>
                  <a:pt x="5689" y="0"/>
                  <a:pt x="5689" y="0"/>
                </a:cubicBezTo>
                <a:cubicBezTo>
                  <a:pt x="5689" y="356"/>
                  <a:pt x="5689" y="356"/>
                  <a:pt x="5689" y="356"/>
                </a:cubicBezTo>
                <a:cubicBezTo>
                  <a:pt x="5768" y="356"/>
                  <a:pt x="5768" y="356"/>
                  <a:pt x="5768" y="356"/>
                </a:cubicBezTo>
                <a:cubicBezTo>
                  <a:pt x="5768" y="116"/>
                  <a:pt x="5768" y="116"/>
                  <a:pt x="5768" y="116"/>
                </a:cubicBezTo>
                <a:cubicBezTo>
                  <a:pt x="6070" y="356"/>
                  <a:pt x="6070" y="356"/>
                  <a:pt x="6070" y="356"/>
                </a:cubicBezTo>
                <a:cubicBezTo>
                  <a:pt x="6129" y="356"/>
                  <a:pt x="6129" y="356"/>
                  <a:pt x="6129" y="356"/>
                </a:cubicBezTo>
                <a:cubicBezTo>
                  <a:pt x="6129" y="0"/>
                  <a:pt x="6129" y="0"/>
                  <a:pt x="6129" y="0"/>
                </a:cubicBezTo>
                <a:cubicBezTo>
                  <a:pt x="6051" y="0"/>
                  <a:pt x="6051" y="0"/>
                  <a:pt x="6051" y="0"/>
                </a:cubicBezTo>
                <a:lnTo>
                  <a:pt x="6051" y="237"/>
                </a:lnTo>
                <a:close/>
                <a:moveTo>
                  <a:pt x="5444" y="0"/>
                </a:moveTo>
                <a:cubicBezTo>
                  <a:pt x="5444" y="178"/>
                  <a:pt x="5444" y="178"/>
                  <a:pt x="5444" y="178"/>
                </a:cubicBezTo>
                <a:cubicBezTo>
                  <a:pt x="5444" y="356"/>
                  <a:pt x="5444" y="356"/>
                  <a:pt x="5444" y="356"/>
                </a:cubicBezTo>
                <a:cubicBezTo>
                  <a:pt x="5487" y="356"/>
                  <a:pt x="5487" y="356"/>
                  <a:pt x="5487" y="356"/>
                </a:cubicBezTo>
                <a:cubicBezTo>
                  <a:pt x="5531" y="356"/>
                  <a:pt x="5531" y="356"/>
                  <a:pt x="5531" y="356"/>
                </a:cubicBezTo>
                <a:cubicBezTo>
                  <a:pt x="5531" y="178"/>
                  <a:pt x="5531" y="178"/>
                  <a:pt x="5531" y="178"/>
                </a:cubicBezTo>
                <a:cubicBezTo>
                  <a:pt x="5531" y="0"/>
                  <a:pt x="5531" y="0"/>
                  <a:pt x="5531" y="0"/>
                </a:cubicBezTo>
                <a:cubicBezTo>
                  <a:pt x="5531" y="0"/>
                  <a:pt x="5531" y="0"/>
                  <a:pt x="5531" y="0"/>
                </a:cubicBezTo>
                <a:cubicBezTo>
                  <a:pt x="5444" y="0"/>
                  <a:pt x="5444" y="0"/>
                  <a:pt x="5444" y="0"/>
                </a:cubicBezTo>
                <a:close/>
                <a:moveTo>
                  <a:pt x="6288" y="356"/>
                </a:moveTo>
                <a:cubicBezTo>
                  <a:pt x="6375" y="356"/>
                  <a:pt x="6375" y="356"/>
                  <a:pt x="6375" y="356"/>
                </a:cubicBezTo>
                <a:cubicBezTo>
                  <a:pt x="6375" y="0"/>
                  <a:pt x="6375" y="0"/>
                  <a:pt x="6375" y="0"/>
                </a:cubicBezTo>
                <a:cubicBezTo>
                  <a:pt x="6288" y="0"/>
                  <a:pt x="6288" y="0"/>
                  <a:pt x="6288" y="0"/>
                </a:cubicBezTo>
                <a:lnTo>
                  <a:pt x="6288" y="356"/>
                </a:lnTo>
                <a:close/>
                <a:moveTo>
                  <a:pt x="5042" y="211"/>
                </a:moveTo>
                <a:cubicBezTo>
                  <a:pt x="4868" y="0"/>
                  <a:pt x="4868" y="0"/>
                  <a:pt x="4868" y="0"/>
                </a:cubicBezTo>
                <a:cubicBezTo>
                  <a:pt x="4798" y="0"/>
                  <a:pt x="4798" y="0"/>
                  <a:pt x="4798" y="0"/>
                </a:cubicBezTo>
                <a:cubicBezTo>
                  <a:pt x="4798" y="356"/>
                  <a:pt x="4798" y="356"/>
                  <a:pt x="4798" y="356"/>
                </a:cubicBezTo>
                <a:cubicBezTo>
                  <a:pt x="4868" y="356"/>
                  <a:pt x="4868" y="356"/>
                  <a:pt x="4868" y="356"/>
                </a:cubicBezTo>
                <a:cubicBezTo>
                  <a:pt x="4868" y="117"/>
                  <a:pt x="4868" y="117"/>
                  <a:pt x="4868" y="117"/>
                </a:cubicBezTo>
                <a:cubicBezTo>
                  <a:pt x="5029" y="313"/>
                  <a:pt x="5029" y="313"/>
                  <a:pt x="5029" y="313"/>
                </a:cubicBezTo>
                <a:cubicBezTo>
                  <a:pt x="5046" y="313"/>
                  <a:pt x="5046" y="313"/>
                  <a:pt x="5046" y="313"/>
                </a:cubicBezTo>
                <a:cubicBezTo>
                  <a:pt x="5205" y="111"/>
                  <a:pt x="5205" y="111"/>
                  <a:pt x="5205" y="111"/>
                </a:cubicBezTo>
                <a:cubicBezTo>
                  <a:pt x="5205" y="356"/>
                  <a:pt x="5205" y="356"/>
                  <a:pt x="5205" y="356"/>
                </a:cubicBezTo>
                <a:cubicBezTo>
                  <a:pt x="5286" y="356"/>
                  <a:pt x="5286" y="356"/>
                  <a:pt x="5286" y="356"/>
                </a:cubicBezTo>
                <a:cubicBezTo>
                  <a:pt x="5286" y="0"/>
                  <a:pt x="5286" y="0"/>
                  <a:pt x="5286" y="0"/>
                </a:cubicBezTo>
                <a:cubicBezTo>
                  <a:pt x="5216" y="0"/>
                  <a:pt x="5216" y="0"/>
                  <a:pt x="5216" y="0"/>
                </a:cubicBezTo>
                <a:lnTo>
                  <a:pt x="5042" y="211"/>
                </a:lnTo>
                <a:close/>
                <a:moveTo>
                  <a:pt x="3589" y="0"/>
                </a:moveTo>
                <a:cubicBezTo>
                  <a:pt x="3804" y="356"/>
                  <a:pt x="3804" y="356"/>
                  <a:pt x="3804" y="356"/>
                </a:cubicBezTo>
                <a:cubicBezTo>
                  <a:pt x="3706" y="356"/>
                  <a:pt x="3706" y="356"/>
                  <a:pt x="3706" y="356"/>
                </a:cubicBezTo>
                <a:cubicBezTo>
                  <a:pt x="3662" y="278"/>
                  <a:pt x="3662" y="278"/>
                  <a:pt x="3662" y="278"/>
                </a:cubicBezTo>
                <a:cubicBezTo>
                  <a:pt x="3426" y="278"/>
                  <a:pt x="3426" y="278"/>
                  <a:pt x="3426" y="278"/>
                </a:cubicBezTo>
                <a:cubicBezTo>
                  <a:pt x="3381" y="356"/>
                  <a:pt x="3381" y="356"/>
                  <a:pt x="3381" y="356"/>
                </a:cubicBezTo>
                <a:cubicBezTo>
                  <a:pt x="3294" y="356"/>
                  <a:pt x="3294" y="356"/>
                  <a:pt x="3294" y="356"/>
                </a:cubicBezTo>
                <a:cubicBezTo>
                  <a:pt x="3506" y="0"/>
                  <a:pt x="3506" y="0"/>
                  <a:pt x="3506" y="0"/>
                </a:cubicBezTo>
                <a:lnTo>
                  <a:pt x="3589" y="0"/>
                </a:lnTo>
                <a:close/>
                <a:moveTo>
                  <a:pt x="3626" y="213"/>
                </a:moveTo>
                <a:cubicBezTo>
                  <a:pt x="3543" y="65"/>
                  <a:pt x="3543" y="65"/>
                  <a:pt x="3543" y="65"/>
                </a:cubicBezTo>
                <a:cubicBezTo>
                  <a:pt x="3463" y="213"/>
                  <a:pt x="3463" y="213"/>
                  <a:pt x="3463" y="213"/>
                </a:cubicBezTo>
                <a:lnTo>
                  <a:pt x="3626" y="213"/>
                </a:lnTo>
                <a:close/>
                <a:moveTo>
                  <a:pt x="7676" y="202"/>
                </a:moveTo>
                <a:cubicBezTo>
                  <a:pt x="7848" y="202"/>
                  <a:pt x="7848" y="202"/>
                  <a:pt x="7848" y="202"/>
                </a:cubicBezTo>
                <a:cubicBezTo>
                  <a:pt x="7848" y="141"/>
                  <a:pt x="7848" y="141"/>
                  <a:pt x="7848" y="141"/>
                </a:cubicBezTo>
                <a:cubicBezTo>
                  <a:pt x="7676" y="141"/>
                  <a:pt x="7676" y="141"/>
                  <a:pt x="7676" y="141"/>
                </a:cubicBezTo>
                <a:cubicBezTo>
                  <a:pt x="7676" y="63"/>
                  <a:pt x="7676" y="63"/>
                  <a:pt x="7676" y="63"/>
                </a:cubicBezTo>
                <a:cubicBezTo>
                  <a:pt x="7971" y="63"/>
                  <a:pt x="7971" y="63"/>
                  <a:pt x="7971" y="63"/>
                </a:cubicBezTo>
                <a:cubicBezTo>
                  <a:pt x="7971" y="0"/>
                  <a:pt x="7971" y="0"/>
                  <a:pt x="7971" y="0"/>
                </a:cubicBezTo>
                <a:cubicBezTo>
                  <a:pt x="7589" y="0"/>
                  <a:pt x="7589" y="0"/>
                  <a:pt x="7589" y="0"/>
                </a:cubicBezTo>
                <a:cubicBezTo>
                  <a:pt x="7589" y="356"/>
                  <a:pt x="7589" y="356"/>
                  <a:pt x="7589" y="356"/>
                </a:cubicBezTo>
                <a:cubicBezTo>
                  <a:pt x="7975" y="356"/>
                  <a:pt x="7975" y="356"/>
                  <a:pt x="7975" y="356"/>
                </a:cubicBezTo>
                <a:cubicBezTo>
                  <a:pt x="7975" y="290"/>
                  <a:pt x="7975" y="290"/>
                  <a:pt x="7975" y="290"/>
                </a:cubicBezTo>
                <a:cubicBezTo>
                  <a:pt x="7676" y="290"/>
                  <a:pt x="7676" y="290"/>
                  <a:pt x="7676" y="290"/>
                </a:cubicBezTo>
                <a:lnTo>
                  <a:pt x="7676" y="202"/>
                </a:lnTo>
                <a:close/>
                <a:moveTo>
                  <a:pt x="4164" y="221"/>
                </a:moveTo>
                <a:cubicBezTo>
                  <a:pt x="4334" y="356"/>
                  <a:pt x="4334" y="356"/>
                  <a:pt x="4334" y="356"/>
                </a:cubicBezTo>
                <a:cubicBezTo>
                  <a:pt x="4209" y="356"/>
                  <a:pt x="4209" y="356"/>
                  <a:pt x="4209" y="356"/>
                </a:cubicBezTo>
                <a:cubicBezTo>
                  <a:pt x="4060" y="221"/>
                  <a:pt x="4060" y="221"/>
                  <a:pt x="4060" y="221"/>
                </a:cubicBezTo>
                <a:cubicBezTo>
                  <a:pt x="3978" y="221"/>
                  <a:pt x="3978" y="221"/>
                  <a:pt x="3978" y="221"/>
                </a:cubicBezTo>
                <a:cubicBezTo>
                  <a:pt x="3978" y="356"/>
                  <a:pt x="3978" y="356"/>
                  <a:pt x="3978" y="356"/>
                </a:cubicBezTo>
                <a:cubicBezTo>
                  <a:pt x="3892" y="356"/>
                  <a:pt x="3892" y="356"/>
                  <a:pt x="3892" y="356"/>
                </a:cubicBezTo>
                <a:cubicBezTo>
                  <a:pt x="3892" y="0"/>
                  <a:pt x="3892" y="0"/>
                  <a:pt x="3892" y="0"/>
                </a:cubicBezTo>
                <a:cubicBezTo>
                  <a:pt x="4213" y="0"/>
                  <a:pt x="4213" y="0"/>
                  <a:pt x="4213" y="0"/>
                </a:cubicBezTo>
                <a:cubicBezTo>
                  <a:pt x="4270" y="0"/>
                  <a:pt x="4296" y="19"/>
                  <a:pt x="4296" y="69"/>
                </a:cubicBezTo>
                <a:cubicBezTo>
                  <a:pt x="4296" y="153"/>
                  <a:pt x="4296" y="153"/>
                  <a:pt x="4296" y="153"/>
                </a:cubicBezTo>
                <a:cubicBezTo>
                  <a:pt x="4296" y="202"/>
                  <a:pt x="4270" y="221"/>
                  <a:pt x="4213" y="221"/>
                </a:cubicBezTo>
                <a:lnTo>
                  <a:pt x="4164" y="221"/>
                </a:lnTo>
                <a:close/>
                <a:moveTo>
                  <a:pt x="4176" y="160"/>
                </a:moveTo>
                <a:cubicBezTo>
                  <a:pt x="4202" y="160"/>
                  <a:pt x="4216" y="155"/>
                  <a:pt x="4216" y="131"/>
                </a:cubicBezTo>
                <a:cubicBezTo>
                  <a:pt x="4216" y="90"/>
                  <a:pt x="4216" y="90"/>
                  <a:pt x="4216" y="90"/>
                </a:cubicBezTo>
                <a:cubicBezTo>
                  <a:pt x="4216" y="67"/>
                  <a:pt x="4202" y="61"/>
                  <a:pt x="4176" y="61"/>
                </a:cubicBezTo>
                <a:cubicBezTo>
                  <a:pt x="3978" y="61"/>
                  <a:pt x="3978" y="61"/>
                  <a:pt x="3978" y="61"/>
                </a:cubicBezTo>
                <a:cubicBezTo>
                  <a:pt x="3978" y="160"/>
                  <a:pt x="3978" y="160"/>
                  <a:pt x="3978" y="160"/>
                </a:cubicBezTo>
                <a:lnTo>
                  <a:pt x="4176" y="160"/>
                </a:lnTo>
                <a:close/>
                <a:moveTo>
                  <a:pt x="3015" y="0"/>
                </a:moveTo>
                <a:cubicBezTo>
                  <a:pt x="3230" y="356"/>
                  <a:pt x="3230" y="356"/>
                  <a:pt x="3230" y="356"/>
                </a:cubicBezTo>
                <a:cubicBezTo>
                  <a:pt x="3132" y="356"/>
                  <a:pt x="3132" y="356"/>
                  <a:pt x="3132" y="356"/>
                </a:cubicBezTo>
                <a:cubicBezTo>
                  <a:pt x="3088" y="278"/>
                  <a:pt x="3088" y="278"/>
                  <a:pt x="3088" y="278"/>
                </a:cubicBezTo>
                <a:cubicBezTo>
                  <a:pt x="2852" y="278"/>
                  <a:pt x="2852" y="278"/>
                  <a:pt x="2852" y="278"/>
                </a:cubicBezTo>
                <a:cubicBezTo>
                  <a:pt x="2807" y="356"/>
                  <a:pt x="2807" y="356"/>
                  <a:pt x="2807" y="356"/>
                </a:cubicBezTo>
                <a:cubicBezTo>
                  <a:pt x="2721" y="356"/>
                  <a:pt x="2721" y="356"/>
                  <a:pt x="2721" y="356"/>
                </a:cubicBezTo>
                <a:cubicBezTo>
                  <a:pt x="2932" y="0"/>
                  <a:pt x="2932" y="0"/>
                  <a:pt x="2932" y="0"/>
                </a:cubicBezTo>
                <a:lnTo>
                  <a:pt x="3015" y="0"/>
                </a:lnTo>
                <a:close/>
                <a:moveTo>
                  <a:pt x="3052" y="213"/>
                </a:moveTo>
                <a:cubicBezTo>
                  <a:pt x="2969" y="65"/>
                  <a:pt x="2969" y="65"/>
                  <a:pt x="2969" y="65"/>
                </a:cubicBezTo>
                <a:cubicBezTo>
                  <a:pt x="2889" y="213"/>
                  <a:pt x="2889" y="213"/>
                  <a:pt x="2889" y="213"/>
                </a:cubicBezTo>
                <a:lnTo>
                  <a:pt x="3052" y="213"/>
                </a:lnTo>
                <a:close/>
                <a:moveTo>
                  <a:pt x="7046" y="64"/>
                </a:moveTo>
                <a:cubicBezTo>
                  <a:pt x="7217" y="64"/>
                  <a:pt x="7217" y="64"/>
                  <a:pt x="7217" y="64"/>
                </a:cubicBezTo>
                <a:cubicBezTo>
                  <a:pt x="7217" y="356"/>
                  <a:pt x="7217" y="356"/>
                  <a:pt x="7217" y="356"/>
                </a:cubicBezTo>
                <a:cubicBezTo>
                  <a:pt x="7304" y="356"/>
                  <a:pt x="7304" y="356"/>
                  <a:pt x="7304" y="356"/>
                </a:cubicBezTo>
                <a:cubicBezTo>
                  <a:pt x="7304" y="64"/>
                  <a:pt x="7304" y="64"/>
                  <a:pt x="7304" y="64"/>
                </a:cubicBezTo>
                <a:cubicBezTo>
                  <a:pt x="7477" y="64"/>
                  <a:pt x="7477" y="64"/>
                  <a:pt x="7477" y="64"/>
                </a:cubicBezTo>
                <a:cubicBezTo>
                  <a:pt x="7477" y="0"/>
                  <a:pt x="7477" y="0"/>
                  <a:pt x="7477" y="0"/>
                </a:cubicBezTo>
                <a:cubicBezTo>
                  <a:pt x="7046" y="0"/>
                  <a:pt x="7046" y="0"/>
                  <a:pt x="7046" y="0"/>
                </a:cubicBezTo>
                <a:lnTo>
                  <a:pt x="704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1" name="Rectangle 8"/>
          <p:cNvSpPr>
            <a:spLocks noSelect="1" noChangeArrowheads="1"/>
          </p:cNvSpPr>
          <p:nvPr userDrawn="1"/>
        </p:nvSpPr>
        <p:spPr bwMode="gray">
          <a:xfrm>
            <a:off x="0" y="3429000"/>
            <a:ext cx="12189600" cy="3429000"/>
          </a:xfrm>
          <a:prstGeom prst="rect">
            <a:avLst/>
          </a:prstGeom>
          <a:solidFill>
            <a:schemeClr val="accent1"/>
          </a:solidFill>
          <a:ln>
            <a:noFill/>
          </a:ln>
          <a:effectLst/>
        </p:spPr>
        <p:txBody>
          <a:bodyPr wrap="none" anchor="ctr"/>
          <a:lstStyle/>
          <a:p>
            <a:pPr eaLnBrk="1" hangingPunct="1">
              <a:defRPr/>
            </a:pPr>
            <a:endParaRPr lang="nl-NL" sz="2142" dirty="0">
              <a:latin typeface="Arial Black" charset="0"/>
            </a:endParaRPr>
          </a:p>
        </p:txBody>
      </p:sp>
      <p:sp>
        <p:nvSpPr>
          <p:cNvPr id="2" name="***Titel 1"/>
          <p:cNvSpPr>
            <a:spLocks noGrp="1" noSelect="1"/>
          </p:cNvSpPr>
          <p:nvPr>
            <p:ph type="ctrTitle" hasCustomPrompt="1"/>
          </p:nvPr>
        </p:nvSpPr>
        <p:spPr bwMode="gray">
          <a:xfrm>
            <a:off x="1080000" y="3913999"/>
            <a:ext cx="10040516" cy="685952"/>
          </a:xfrm>
        </p:spPr>
        <p:txBody>
          <a:bodyPr anchor="t" anchorCtr="0"/>
          <a:lstStyle>
            <a:lvl1pPr algn="l">
              <a:defRPr sz="3600">
                <a:solidFill>
                  <a:schemeClr val="tx1"/>
                </a:solidFill>
              </a:defRPr>
            </a:lvl1pPr>
          </a:lstStyle>
          <a:p>
            <a:r>
              <a:rPr lang="nl-NL" noProof="1"/>
              <a:t>[Titel]</a:t>
            </a:r>
          </a:p>
        </p:txBody>
      </p:sp>
      <p:sp>
        <p:nvSpPr>
          <p:cNvPr id="3" name="Ondertitel 2"/>
          <p:cNvSpPr>
            <a:spLocks noGrp="1" noSelect="1"/>
          </p:cNvSpPr>
          <p:nvPr>
            <p:ph type="subTitle" idx="1" hasCustomPrompt="1"/>
          </p:nvPr>
        </p:nvSpPr>
        <p:spPr bwMode="gray">
          <a:xfrm>
            <a:off x="1080000" y="4863460"/>
            <a:ext cx="10029243" cy="546598"/>
          </a:xfrm>
        </p:spPr>
        <p:txBody>
          <a:bodyPr/>
          <a:lstStyle>
            <a:lvl1pPr marL="0" indent="0" algn="l">
              <a:buNone/>
              <a:defRPr>
                <a:solidFill>
                  <a:schemeClr val="tx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nl-NL" noProof="1"/>
              <a:t>[Subtitel]</a:t>
            </a:r>
          </a:p>
        </p:txBody>
      </p:sp>
      <p:sp>
        <p:nvSpPr>
          <p:cNvPr id="14" name="Tijdelijke aanduiding voor datum 13"/>
          <p:cNvSpPr>
            <a:spLocks noGrp="1" noSelect="1"/>
          </p:cNvSpPr>
          <p:nvPr>
            <p:ph type="dt" sz="half" idx="10"/>
          </p:nvPr>
        </p:nvSpPr>
        <p:spPr bwMode="gray"/>
        <p:txBody>
          <a:bodyPr/>
          <a:lstStyle/>
          <a:p>
            <a:fld id="{7BB60F3E-2C73-40A8-B0AB-89D26A81596F}" type="datetime4">
              <a:rPr lang="nl-NL" noProof="1" smtClean="0"/>
              <a:t>22 september 2022</a:t>
            </a:fld>
            <a:endParaRPr lang="nl-NL" noProof="1"/>
          </a:p>
        </p:txBody>
      </p:sp>
      <p:sp>
        <p:nvSpPr>
          <p:cNvPr id="4" name="Tijdelijke aanduiding voor voettekst 3"/>
          <p:cNvSpPr>
            <a:spLocks noGrp="1" noSelect="1"/>
          </p:cNvSpPr>
          <p:nvPr>
            <p:ph type="ftr" sz="quarter" idx="11"/>
          </p:nvPr>
        </p:nvSpPr>
        <p:spPr>
          <a:xfrm>
            <a:off x="1080000" y="2217600"/>
            <a:ext cx="10080000" cy="307765"/>
          </a:xfrm>
        </p:spPr>
        <p:txBody>
          <a:bodyPr/>
          <a:lstStyle/>
          <a:p>
            <a:r>
              <a:rPr lang="nl-NL" noProof="1"/>
              <a:t>[Plaats hier de aanduiding van het OM onderdeel]</a:t>
            </a:r>
          </a:p>
        </p:txBody>
      </p:sp>
      <p:sp>
        <p:nvSpPr>
          <p:cNvPr id="5" name="Rechthoek 4"/>
          <p:cNvSpPr>
            <a:spLocks noSelect="1"/>
          </p:cNvSpPr>
          <p:nvPr userDrawn="1"/>
        </p:nvSpPr>
        <p:spPr>
          <a:xfrm>
            <a:off x="-1285778" y="189362"/>
            <a:ext cx="1170156" cy="2520336"/>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nl-NL" sz="1000" dirty="0">
                <a:solidFill>
                  <a:schemeClr val="tx1"/>
                </a:solidFill>
              </a:rPr>
              <a:t>Via Invoegen | Koptekst en voettekst kan de datum, paginanummer en aanduiding</a:t>
            </a:r>
            <a:r>
              <a:rPr lang="nl-NL" sz="1000" baseline="0" dirty="0">
                <a:solidFill>
                  <a:schemeClr val="tx1"/>
                </a:solidFill>
              </a:rPr>
              <a:t> van het OM onderdeel geplaatst worden.</a:t>
            </a:r>
          </a:p>
          <a:p>
            <a:pPr algn="l"/>
            <a:endParaRPr lang="nl-NL" sz="1000" baseline="0" dirty="0">
              <a:solidFill>
                <a:schemeClr val="tx1"/>
              </a:solidFill>
            </a:endParaRPr>
          </a:p>
          <a:p>
            <a:pPr algn="l"/>
            <a:r>
              <a:rPr lang="nl-NL" sz="1000" baseline="0" dirty="0">
                <a:solidFill>
                  <a:schemeClr val="tx1"/>
                </a:solidFill>
              </a:rPr>
              <a:t>Dit instructie vak is niet te zien tijdens de presentatie.</a:t>
            </a:r>
            <a:endParaRPr lang="nl-NL" sz="1000" dirty="0">
              <a:solidFill>
                <a:schemeClr val="tx1"/>
              </a:solidFill>
            </a:endParaRPr>
          </a:p>
        </p:txBody>
      </p:sp>
      <p:sp>
        <p:nvSpPr>
          <p:cNvPr id="8" name="***Spreker"/>
          <p:cNvSpPr>
            <a:spLocks noGrp="1" noSelect="1"/>
          </p:cNvSpPr>
          <p:nvPr>
            <p:ph type="body" sz="quarter" idx="12" hasCustomPrompt="1"/>
          </p:nvPr>
        </p:nvSpPr>
        <p:spPr>
          <a:xfrm>
            <a:off x="1080000" y="720000"/>
            <a:ext cx="10080000" cy="457200"/>
          </a:xfrm>
        </p:spPr>
        <p:txBody>
          <a:bodyPr/>
          <a:lstStyle>
            <a:lvl1pPr marL="0" indent="0">
              <a:spcBef>
                <a:spcPts val="0"/>
              </a:spcBef>
              <a:spcAft>
                <a:spcPts val="0"/>
              </a:spcAft>
              <a:buNone/>
              <a:defRPr b="1" i="0"/>
            </a:lvl1pPr>
            <a:lvl2pPr marL="0" indent="0">
              <a:spcBef>
                <a:spcPts val="0"/>
              </a:spcBef>
              <a:spcAft>
                <a:spcPts val="0"/>
              </a:spcAft>
              <a:buNone/>
              <a:defRPr b="1" i="0"/>
            </a:lvl2pPr>
            <a:lvl3pPr marL="0" indent="0">
              <a:spcBef>
                <a:spcPts val="0"/>
              </a:spcBef>
              <a:spcAft>
                <a:spcPts val="0"/>
              </a:spcAft>
              <a:buNone/>
              <a:defRPr b="1" i="0"/>
            </a:lvl3pPr>
            <a:lvl4pPr marL="0" indent="0">
              <a:spcBef>
                <a:spcPts val="0"/>
              </a:spcBef>
              <a:spcAft>
                <a:spcPts val="0"/>
              </a:spcAft>
              <a:buFont typeface="Arial" panose="020B0604020202020204" pitchFamily="34" charset="0"/>
              <a:buNone/>
              <a:defRPr b="1" i="0"/>
            </a:lvl4pPr>
            <a:lvl5pPr marL="0" indent="0">
              <a:spcBef>
                <a:spcPts val="0"/>
              </a:spcBef>
              <a:spcAft>
                <a:spcPts val="0"/>
              </a:spcAft>
              <a:buFont typeface="Arial" panose="020B0604020202020204" pitchFamily="34" charset="0"/>
              <a:buNone/>
              <a:defRPr b="1" i="0"/>
            </a:lvl5pPr>
            <a:lvl6pPr marL="0" indent="0">
              <a:spcBef>
                <a:spcPts val="0"/>
              </a:spcBef>
              <a:spcAft>
                <a:spcPts val="0"/>
              </a:spcAft>
              <a:buFont typeface="Arial" panose="020B0604020202020204" pitchFamily="34" charset="0"/>
              <a:buNone/>
              <a:defRPr b="1" i="0"/>
            </a:lvl6pPr>
            <a:lvl7pPr marL="0" indent="0">
              <a:spcBef>
                <a:spcPts val="0"/>
              </a:spcBef>
              <a:spcAft>
                <a:spcPts val="0"/>
              </a:spcAft>
              <a:buFont typeface="Arial" panose="020B0604020202020204" pitchFamily="34" charset="0"/>
              <a:buNone/>
              <a:defRPr b="1" i="0"/>
            </a:lvl7pPr>
            <a:lvl8pPr marL="0" indent="0">
              <a:spcBef>
                <a:spcPts val="0"/>
              </a:spcBef>
              <a:spcAft>
                <a:spcPts val="0"/>
              </a:spcAft>
              <a:buFont typeface="Arial" panose="020B0604020202020204" pitchFamily="34" charset="0"/>
              <a:buNone/>
              <a:defRPr b="1" i="0"/>
            </a:lvl8pPr>
            <a:lvl9pPr marL="0" indent="0">
              <a:spcBef>
                <a:spcPts val="0"/>
              </a:spcBef>
              <a:spcAft>
                <a:spcPts val="0"/>
              </a:spcAft>
              <a:buFont typeface="Arial" panose="020B0604020202020204" pitchFamily="34" charset="0"/>
              <a:buNone/>
              <a:defRPr b="1" i="0"/>
            </a:lvl9pPr>
          </a:lstStyle>
          <a:p>
            <a:pPr lvl="0"/>
            <a:r>
              <a:rPr lang="nl-NL" dirty="0"/>
              <a:t>[Naam spreker]</a:t>
            </a:r>
          </a:p>
          <a:p>
            <a:pPr lvl="0"/>
            <a:endParaRPr lang="nl-NL" dirty="0"/>
          </a:p>
        </p:txBody>
      </p:sp>
    </p:spTree>
    <p:extLst>
      <p:ext uri="{BB962C8B-B14F-4D97-AF65-F5344CB8AC3E}">
        <p14:creationId xmlns:p14="http://schemas.microsoft.com/office/powerpoint/2010/main" val="18105624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el en kader">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p>
            <a:r>
              <a:rPr lang="nl-NL" noProof="1"/>
              <a:t>[Titel]</a:t>
            </a:r>
          </a:p>
        </p:txBody>
      </p:sp>
      <p:sp>
        <p:nvSpPr>
          <p:cNvPr id="3" name="Tijdelijke aanduiding voor inhoud 2"/>
          <p:cNvSpPr>
            <a:spLocks noGrp="1" noSelect="1"/>
          </p:cNvSpPr>
          <p:nvPr>
            <p:ph idx="1" hasCustomPrompt="1"/>
          </p:nvPr>
        </p:nvSpPr>
        <p:spPr bwMode="gray"/>
        <p:txBody>
          <a:bodyPr/>
          <a:lstStyle>
            <a:lvl1pPr>
              <a:defRPr baseline="0"/>
            </a:lvl1pPr>
          </a:lstStyle>
          <a:p>
            <a:pPr lvl="0"/>
            <a:r>
              <a:rPr lang="nl-NL" noProof="1"/>
              <a:t>[Typ tekst of klik op een pictogram om een object in te voegen]</a:t>
            </a:r>
          </a:p>
        </p:txBody>
      </p:sp>
      <p:sp>
        <p:nvSpPr>
          <p:cNvPr id="5" name="Tijdelijke aanduiding voor datum 4"/>
          <p:cNvSpPr>
            <a:spLocks noGrp="1" noSelect="1"/>
          </p:cNvSpPr>
          <p:nvPr>
            <p:ph type="dt" sz="half" idx="10"/>
          </p:nvPr>
        </p:nvSpPr>
        <p:spPr bwMode="gray"/>
        <p:txBody>
          <a:bodyPr/>
          <a:lstStyle/>
          <a:p>
            <a:fld id="{B053C1B9-E9D2-433D-9781-3485AA40C026}" type="datetime4">
              <a:rPr lang="nl-NL" noProof="1" smtClean="0"/>
              <a:t>22 september 2022</a:t>
            </a:fld>
            <a:endParaRPr lang="nl-NL" noProof="1"/>
          </a:p>
        </p:txBody>
      </p:sp>
      <p:sp>
        <p:nvSpPr>
          <p:cNvPr id="6" name="Tijdelijke aanduiding voor voettekst 5"/>
          <p:cNvSpPr>
            <a:spLocks noGrp="1" noSelect="1"/>
          </p:cNvSpPr>
          <p:nvPr>
            <p:ph type="ftr" sz="quarter" idx="11"/>
          </p:nvPr>
        </p:nvSpPr>
        <p:spPr bwMode="gray"/>
        <p:txBody>
          <a:bodyPr/>
          <a:lstStyle/>
          <a:p>
            <a:r>
              <a:rPr lang="nl-NL" noProof="1"/>
              <a:t>[Plaats hier de aanduiding van het OM onderdeel]</a:t>
            </a:r>
          </a:p>
        </p:txBody>
      </p:sp>
      <p:sp>
        <p:nvSpPr>
          <p:cNvPr id="7" name="Tijdelijke aanduiding voor dianummer 6"/>
          <p:cNvSpPr>
            <a:spLocks noGrp="1" noSelect="1"/>
          </p:cNvSpPr>
          <p:nvPr>
            <p:ph type="sldNum" sz="quarter" idx="12"/>
          </p:nvPr>
        </p:nvSpPr>
        <p:spPr bwMode="gray"/>
        <p:txBody>
          <a:bodyPr/>
          <a:lstStyle/>
          <a:p>
            <a:r>
              <a:rPr lang="nl-NL" noProof="1"/>
              <a:t>pagina </a:t>
            </a:r>
            <a:fld id="{1336C48C-F87C-4E4B-81EF-5027B17D1F61}" type="slidenum">
              <a:rPr lang="nl-NL" noProof="1" smtClean="0"/>
              <a:pPr/>
              <a:t>‹nr.›</a:t>
            </a:fld>
            <a:endParaRPr lang="nl-NL" noProof="1"/>
          </a:p>
        </p:txBody>
      </p:sp>
    </p:spTree>
    <p:extLst>
      <p:ext uri="{BB962C8B-B14F-4D97-AF65-F5344CB8AC3E}">
        <p14:creationId xmlns:p14="http://schemas.microsoft.com/office/powerpoint/2010/main" val="36217423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dia met fotovak">
    <p:spTree>
      <p:nvGrpSpPr>
        <p:cNvPr id="1" name=""/>
        <p:cNvGrpSpPr/>
        <p:nvPr/>
      </p:nvGrpSpPr>
      <p:grpSpPr>
        <a:xfrm>
          <a:off x="0" y="0"/>
          <a:ext cx="0" cy="0"/>
          <a:chOff x="0" y="0"/>
          <a:chExt cx="0" cy="0"/>
        </a:xfrm>
      </p:grpSpPr>
      <p:sp>
        <p:nvSpPr>
          <p:cNvPr id="8" name="Tijdelijke aanduiding voor afbeelding 7"/>
          <p:cNvSpPr>
            <a:spLocks noGrp="1" noSelect="1"/>
          </p:cNvSpPr>
          <p:nvPr>
            <p:ph type="pic" sz="quarter" idx="13" hasCustomPrompt="1"/>
          </p:nvPr>
        </p:nvSpPr>
        <p:spPr bwMode="gray">
          <a:xfrm>
            <a:off x="0" y="3430588"/>
            <a:ext cx="12188825" cy="3429000"/>
          </a:xfrm>
          <a:blipFill dpi="0" rotWithShape="1">
            <a:blip r:embed="rId2"/>
            <a:srcRect/>
            <a:stretch>
              <a:fillRect l="-1000" t="-8000" r="-2000"/>
            </a:stretch>
          </a:blipFill>
        </p:spPr>
        <p:txBody>
          <a:bodyPr/>
          <a:lstStyle>
            <a:lvl1pPr marL="0" indent="0">
              <a:buNone/>
              <a:defRPr/>
            </a:lvl1pPr>
          </a:lstStyle>
          <a:p>
            <a:r>
              <a:rPr lang="nl-NL" dirty="0"/>
              <a:t>[Klik op het pictogram om een afbeelding in te voegen]</a:t>
            </a:r>
          </a:p>
        </p:txBody>
      </p:sp>
      <p:sp>
        <p:nvSpPr>
          <p:cNvPr id="10" name="Rectangle 3"/>
          <p:cNvSpPr>
            <a:spLocks noSelect="1" noChangeArrowheads="1"/>
          </p:cNvSpPr>
          <p:nvPr userDrawn="1"/>
        </p:nvSpPr>
        <p:spPr bwMode="gray">
          <a:xfrm>
            <a:off x="0" y="0"/>
            <a:ext cx="12189600" cy="1709738"/>
          </a:xfrm>
          <a:prstGeom prst="rect">
            <a:avLst/>
          </a:prstGeom>
          <a:solidFill>
            <a:srgbClr val="91D2F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1" hangingPunct="1">
              <a:defRPr/>
            </a:pPr>
            <a:endParaRPr lang="nl-NL" dirty="0">
              <a:latin typeface="Arial Black" charset="0"/>
            </a:endParaRPr>
          </a:p>
        </p:txBody>
      </p:sp>
      <p:sp>
        <p:nvSpPr>
          <p:cNvPr id="15" name="Rechthoek 14"/>
          <p:cNvSpPr>
            <a:spLocks noSelect="1"/>
          </p:cNvSpPr>
          <p:nvPr userDrawn="1"/>
        </p:nvSpPr>
        <p:spPr bwMode="gray">
          <a:xfrm>
            <a:off x="0" y="1710000"/>
            <a:ext cx="12189600" cy="450000"/>
          </a:xfrm>
          <a:prstGeom prst="rect">
            <a:avLst/>
          </a:prstGeom>
          <a:solidFill>
            <a:srgbClr val="001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0" name="Freeform 5"/>
          <p:cNvSpPr>
            <a:spLocks noSelect="1"/>
          </p:cNvSpPr>
          <p:nvPr userDrawn="1"/>
        </p:nvSpPr>
        <p:spPr bwMode="gray">
          <a:xfrm>
            <a:off x="1089025" y="1876425"/>
            <a:ext cx="2944813" cy="114300"/>
          </a:xfrm>
          <a:custGeom>
            <a:avLst/>
            <a:gdLst>
              <a:gd name="T0" fmla="*/ 6618 w 9279"/>
              <a:gd name="T1" fmla="*/ 356 h 356"/>
              <a:gd name="T2" fmla="*/ 6602 w 9279"/>
              <a:gd name="T3" fmla="*/ 290 h 356"/>
              <a:gd name="T4" fmla="*/ 6540 w 9279"/>
              <a:gd name="T5" fmla="*/ 124 h 356"/>
              <a:gd name="T6" fmla="*/ 6938 w 9279"/>
              <a:gd name="T7" fmla="*/ 78 h 356"/>
              <a:gd name="T8" fmla="*/ 6618 w 9279"/>
              <a:gd name="T9" fmla="*/ 64 h 356"/>
              <a:gd name="T10" fmla="*/ 8373 w 9279"/>
              <a:gd name="T11" fmla="*/ 222 h 356"/>
              <a:gd name="T12" fmla="*/ 8186 w 9279"/>
              <a:gd name="T13" fmla="*/ 222 h 356"/>
              <a:gd name="T14" fmla="*/ 8421 w 9279"/>
              <a:gd name="T15" fmla="*/ 0 h 356"/>
              <a:gd name="T16" fmla="*/ 8373 w 9279"/>
              <a:gd name="T17" fmla="*/ 222 h 356"/>
              <a:gd name="T18" fmla="*/ 8384 w 9279"/>
              <a:gd name="T19" fmla="*/ 61 h 356"/>
              <a:gd name="T20" fmla="*/ 2014 w 9279"/>
              <a:gd name="T21" fmla="*/ 237 h 356"/>
              <a:gd name="T22" fmla="*/ 1731 w 9279"/>
              <a:gd name="T23" fmla="*/ 356 h 356"/>
              <a:gd name="T24" fmla="*/ 2092 w 9279"/>
              <a:gd name="T25" fmla="*/ 0 h 356"/>
              <a:gd name="T26" fmla="*/ 2643 w 9279"/>
              <a:gd name="T27" fmla="*/ 286 h 356"/>
              <a:gd name="T28" fmla="*/ 2556 w 9279"/>
              <a:gd name="T29" fmla="*/ 0 h 356"/>
              <a:gd name="T30" fmla="*/ 2643 w 9279"/>
              <a:gd name="T31" fmla="*/ 241 h 356"/>
              <a:gd name="T32" fmla="*/ 2555 w 9279"/>
              <a:gd name="T33" fmla="*/ 83 h 356"/>
              <a:gd name="T34" fmla="*/ 2559 w 9279"/>
              <a:gd name="T35" fmla="*/ 233 h 356"/>
              <a:gd name="T36" fmla="*/ 2517 w 9279"/>
              <a:gd name="T37" fmla="*/ 292 h 356"/>
              <a:gd name="T38" fmla="*/ 8980 w 9279"/>
              <a:gd name="T39" fmla="*/ 202 h 356"/>
              <a:gd name="T40" fmla="*/ 8980 w 9279"/>
              <a:gd name="T41" fmla="*/ 63 h 356"/>
              <a:gd name="T42" fmla="*/ 8893 w 9279"/>
              <a:gd name="T43" fmla="*/ 356 h 356"/>
              <a:gd name="T44" fmla="*/ 1227 w 9279"/>
              <a:gd name="T45" fmla="*/ 202 h 356"/>
              <a:gd name="T46" fmla="*/ 1227 w 9279"/>
              <a:gd name="T47" fmla="*/ 63 h 356"/>
              <a:gd name="T48" fmla="*/ 1140 w 9279"/>
              <a:gd name="T49" fmla="*/ 356 h 356"/>
              <a:gd name="T50" fmla="*/ 1227 w 9279"/>
              <a:gd name="T51" fmla="*/ 202 h 356"/>
              <a:gd name="T52" fmla="*/ 93 w 9279"/>
              <a:gd name="T53" fmla="*/ 356 h 356"/>
              <a:gd name="T54" fmla="*/ 368 w 9279"/>
              <a:gd name="T55" fmla="*/ 0 h 356"/>
              <a:gd name="T56" fmla="*/ 87 w 9279"/>
              <a:gd name="T57" fmla="*/ 288 h 356"/>
              <a:gd name="T58" fmla="*/ 1015 w 9279"/>
              <a:gd name="T59" fmla="*/ 148 h 356"/>
              <a:gd name="T60" fmla="*/ 611 w 9279"/>
              <a:gd name="T61" fmla="*/ 356 h 356"/>
              <a:gd name="T62" fmla="*/ 934 w 9279"/>
              <a:gd name="T63" fmla="*/ 90 h 356"/>
              <a:gd name="T64" fmla="*/ 895 w 9279"/>
              <a:gd name="T65" fmla="*/ 156 h 356"/>
              <a:gd name="T66" fmla="*/ 8735 w 9279"/>
              <a:gd name="T67" fmla="*/ 356 h 356"/>
              <a:gd name="T68" fmla="*/ 6051 w 9279"/>
              <a:gd name="T69" fmla="*/ 237 h 356"/>
              <a:gd name="T70" fmla="*/ 5768 w 9279"/>
              <a:gd name="T71" fmla="*/ 356 h 356"/>
              <a:gd name="T72" fmla="*/ 6129 w 9279"/>
              <a:gd name="T73" fmla="*/ 0 h 356"/>
              <a:gd name="T74" fmla="*/ 5444 w 9279"/>
              <a:gd name="T75" fmla="*/ 178 h 356"/>
              <a:gd name="T76" fmla="*/ 5531 w 9279"/>
              <a:gd name="T77" fmla="*/ 178 h 356"/>
              <a:gd name="T78" fmla="*/ 6288 w 9279"/>
              <a:gd name="T79" fmla="*/ 356 h 356"/>
              <a:gd name="T80" fmla="*/ 6288 w 9279"/>
              <a:gd name="T81" fmla="*/ 356 h 356"/>
              <a:gd name="T82" fmla="*/ 4798 w 9279"/>
              <a:gd name="T83" fmla="*/ 356 h 356"/>
              <a:gd name="T84" fmla="*/ 5046 w 9279"/>
              <a:gd name="T85" fmla="*/ 313 h 356"/>
              <a:gd name="T86" fmla="*/ 5286 w 9279"/>
              <a:gd name="T87" fmla="*/ 0 h 356"/>
              <a:gd name="T88" fmla="*/ 3804 w 9279"/>
              <a:gd name="T89" fmla="*/ 356 h 356"/>
              <a:gd name="T90" fmla="*/ 3381 w 9279"/>
              <a:gd name="T91" fmla="*/ 356 h 356"/>
              <a:gd name="T92" fmla="*/ 3626 w 9279"/>
              <a:gd name="T93" fmla="*/ 213 h 356"/>
              <a:gd name="T94" fmla="*/ 7676 w 9279"/>
              <a:gd name="T95" fmla="*/ 202 h 356"/>
              <a:gd name="T96" fmla="*/ 7676 w 9279"/>
              <a:gd name="T97" fmla="*/ 63 h 356"/>
              <a:gd name="T98" fmla="*/ 7589 w 9279"/>
              <a:gd name="T99" fmla="*/ 356 h 356"/>
              <a:gd name="T100" fmla="*/ 7676 w 9279"/>
              <a:gd name="T101" fmla="*/ 202 h 356"/>
              <a:gd name="T102" fmla="*/ 4060 w 9279"/>
              <a:gd name="T103" fmla="*/ 221 h 356"/>
              <a:gd name="T104" fmla="*/ 3892 w 9279"/>
              <a:gd name="T105" fmla="*/ 0 h 356"/>
              <a:gd name="T106" fmla="*/ 4213 w 9279"/>
              <a:gd name="T107" fmla="*/ 221 h 356"/>
              <a:gd name="T108" fmla="*/ 4216 w 9279"/>
              <a:gd name="T109" fmla="*/ 90 h 356"/>
              <a:gd name="T110" fmla="*/ 4176 w 9279"/>
              <a:gd name="T111" fmla="*/ 160 h 356"/>
              <a:gd name="T112" fmla="*/ 3088 w 9279"/>
              <a:gd name="T113" fmla="*/ 278 h 356"/>
              <a:gd name="T114" fmla="*/ 2932 w 9279"/>
              <a:gd name="T115" fmla="*/ 0 h 356"/>
              <a:gd name="T116" fmla="*/ 2889 w 9279"/>
              <a:gd name="T117" fmla="*/ 213 h 356"/>
              <a:gd name="T118" fmla="*/ 7217 w 9279"/>
              <a:gd name="T119" fmla="*/ 356 h 356"/>
              <a:gd name="T120" fmla="*/ 7477 w 9279"/>
              <a:gd name="T121"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79" h="356">
                <a:moveTo>
                  <a:pt x="6942" y="223"/>
                </a:moveTo>
                <a:cubicBezTo>
                  <a:pt x="6942" y="272"/>
                  <a:pt x="6942" y="272"/>
                  <a:pt x="6942" y="272"/>
                </a:cubicBezTo>
                <a:cubicBezTo>
                  <a:pt x="6942" y="339"/>
                  <a:pt x="6920" y="356"/>
                  <a:pt x="6849" y="356"/>
                </a:cubicBezTo>
                <a:cubicBezTo>
                  <a:pt x="6618" y="356"/>
                  <a:pt x="6618" y="356"/>
                  <a:pt x="6618" y="356"/>
                </a:cubicBezTo>
                <a:cubicBezTo>
                  <a:pt x="6547" y="356"/>
                  <a:pt x="6524" y="339"/>
                  <a:pt x="6524" y="272"/>
                </a:cubicBezTo>
                <a:cubicBezTo>
                  <a:pt x="6524" y="262"/>
                  <a:pt x="6524" y="262"/>
                  <a:pt x="6524" y="262"/>
                </a:cubicBezTo>
                <a:cubicBezTo>
                  <a:pt x="6602" y="248"/>
                  <a:pt x="6602" y="248"/>
                  <a:pt x="6602" y="248"/>
                </a:cubicBezTo>
                <a:cubicBezTo>
                  <a:pt x="6602" y="290"/>
                  <a:pt x="6602" y="290"/>
                  <a:pt x="6602" y="290"/>
                </a:cubicBezTo>
                <a:cubicBezTo>
                  <a:pt x="6864" y="290"/>
                  <a:pt x="6864" y="290"/>
                  <a:pt x="6864" y="290"/>
                </a:cubicBezTo>
                <a:cubicBezTo>
                  <a:pt x="6864" y="208"/>
                  <a:pt x="6864" y="208"/>
                  <a:pt x="6864" y="208"/>
                </a:cubicBezTo>
                <a:cubicBezTo>
                  <a:pt x="6633" y="208"/>
                  <a:pt x="6633" y="208"/>
                  <a:pt x="6633" y="208"/>
                </a:cubicBezTo>
                <a:cubicBezTo>
                  <a:pt x="6563" y="208"/>
                  <a:pt x="6540" y="191"/>
                  <a:pt x="6540" y="124"/>
                </a:cubicBezTo>
                <a:cubicBezTo>
                  <a:pt x="6540" y="84"/>
                  <a:pt x="6540" y="84"/>
                  <a:pt x="6540" y="84"/>
                </a:cubicBezTo>
                <a:cubicBezTo>
                  <a:pt x="6540" y="17"/>
                  <a:pt x="6563" y="0"/>
                  <a:pt x="6633" y="0"/>
                </a:cubicBezTo>
                <a:cubicBezTo>
                  <a:pt x="6844" y="0"/>
                  <a:pt x="6844" y="0"/>
                  <a:pt x="6844" y="0"/>
                </a:cubicBezTo>
                <a:cubicBezTo>
                  <a:pt x="6910" y="0"/>
                  <a:pt x="6938" y="15"/>
                  <a:pt x="6938" y="78"/>
                </a:cubicBezTo>
                <a:cubicBezTo>
                  <a:pt x="6938" y="86"/>
                  <a:pt x="6938" y="86"/>
                  <a:pt x="6938" y="86"/>
                </a:cubicBezTo>
                <a:cubicBezTo>
                  <a:pt x="6863" y="102"/>
                  <a:pt x="6863" y="102"/>
                  <a:pt x="6863" y="102"/>
                </a:cubicBezTo>
                <a:cubicBezTo>
                  <a:pt x="6863" y="64"/>
                  <a:pt x="6863" y="64"/>
                  <a:pt x="6863" y="64"/>
                </a:cubicBezTo>
                <a:cubicBezTo>
                  <a:pt x="6618" y="64"/>
                  <a:pt x="6618" y="64"/>
                  <a:pt x="6618" y="64"/>
                </a:cubicBezTo>
                <a:cubicBezTo>
                  <a:pt x="6618" y="139"/>
                  <a:pt x="6618" y="139"/>
                  <a:pt x="6618" y="139"/>
                </a:cubicBezTo>
                <a:cubicBezTo>
                  <a:pt x="6849" y="139"/>
                  <a:pt x="6849" y="139"/>
                  <a:pt x="6849" y="139"/>
                </a:cubicBezTo>
                <a:cubicBezTo>
                  <a:pt x="6920" y="139"/>
                  <a:pt x="6942" y="156"/>
                  <a:pt x="6942" y="223"/>
                </a:cubicBezTo>
                <a:close/>
                <a:moveTo>
                  <a:pt x="8373" y="222"/>
                </a:moveTo>
                <a:cubicBezTo>
                  <a:pt x="8542" y="356"/>
                  <a:pt x="8542" y="356"/>
                  <a:pt x="8542" y="356"/>
                </a:cubicBezTo>
                <a:cubicBezTo>
                  <a:pt x="8417" y="356"/>
                  <a:pt x="8417" y="356"/>
                  <a:pt x="8417" y="356"/>
                </a:cubicBezTo>
                <a:cubicBezTo>
                  <a:pt x="8268" y="222"/>
                  <a:pt x="8268" y="222"/>
                  <a:pt x="8268" y="222"/>
                </a:cubicBezTo>
                <a:cubicBezTo>
                  <a:pt x="8186" y="222"/>
                  <a:pt x="8186" y="222"/>
                  <a:pt x="8186" y="222"/>
                </a:cubicBezTo>
                <a:cubicBezTo>
                  <a:pt x="8186" y="356"/>
                  <a:pt x="8186" y="356"/>
                  <a:pt x="8186" y="356"/>
                </a:cubicBezTo>
                <a:cubicBezTo>
                  <a:pt x="8101" y="356"/>
                  <a:pt x="8101" y="356"/>
                  <a:pt x="8101" y="356"/>
                </a:cubicBezTo>
                <a:cubicBezTo>
                  <a:pt x="8101" y="0"/>
                  <a:pt x="8101" y="0"/>
                  <a:pt x="8101" y="0"/>
                </a:cubicBezTo>
                <a:cubicBezTo>
                  <a:pt x="8421" y="0"/>
                  <a:pt x="8421" y="0"/>
                  <a:pt x="8421" y="0"/>
                </a:cubicBezTo>
                <a:cubicBezTo>
                  <a:pt x="8479" y="0"/>
                  <a:pt x="8505" y="19"/>
                  <a:pt x="8505" y="69"/>
                </a:cubicBezTo>
                <a:cubicBezTo>
                  <a:pt x="8505" y="153"/>
                  <a:pt x="8505" y="153"/>
                  <a:pt x="8505" y="153"/>
                </a:cubicBezTo>
                <a:cubicBezTo>
                  <a:pt x="8505" y="202"/>
                  <a:pt x="8479" y="222"/>
                  <a:pt x="8421" y="222"/>
                </a:cubicBezTo>
                <a:lnTo>
                  <a:pt x="8373" y="222"/>
                </a:lnTo>
                <a:close/>
                <a:moveTo>
                  <a:pt x="8384" y="160"/>
                </a:moveTo>
                <a:cubicBezTo>
                  <a:pt x="8410" y="160"/>
                  <a:pt x="8424" y="155"/>
                  <a:pt x="8424" y="131"/>
                </a:cubicBezTo>
                <a:cubicBezTo>
                  <a:pt x="8424" y="90"/>
                  <a:pt x="8424" y="90"/>
                  <a:pt x="8424" y="90"/>
                </a:cubicBezTo>
                <a:cubicBezTo>
                  <a:pt x="8424" y="67"/>
                  <a:pt x="8410" y="61"/>
                  <a:pt x="8384" y="61"/>
                </a:cubicBezTo>
                <a:cubicBezTo>
                  <a:pt x="8186" y="61"/>
                  <a:pt x="8186" y="61"/>
                  <a:pt x="8186" y="61"/>
                </a:cubicBezTo>
                <a:cubicBezTo>
                  <a:pt x="8186" y="160"/>
                  <a:pt x="8186" y="160"/>
                  <a:pt x="8186" y="160"/>
                </a:cubicBezTo>
                <a:lnTo>
                  <a:pt x="8384" y="160"/>
                </a:lnTo>
                <a:close/>
                <a:moveTo>
                  <a:pt x="2014" y="237"/>
                </a:moveTo>
                <a:cubicBezTo>
                  <a:pt x="1711" y="0"/>
                  <a:pt x="1711" y="0"/>
                  <a:pt x="1711" y="0"/>
                </a:cubicBezTo>
                <a:cubicBezTo>
                  <a:pt x="1652" y="0"/>
                  <a:pt x="1652" y="0"/>
                  <a:pt x="1652" y="0"/>
                </a:cubicBezTo>
                <a:cubicBezTo>
                  <a:pt x="1652" y="356"/>
                  <a:pt x="1652" y="356"/>
                  <a:pt x="1652" y="356"/>
                </a:cubicBezTo>
                <a:cubicBezTo>
                  <a:pt x="1731" y="356"/>
                  <a:pt x="1731" y="356"/>
                  <a:pt x="1731" y="356"/>
                </a:cubicBezTo>
                <a:cubicBezTo>
                  <a:pt x="1731" y="116"/>
                  <a:pt x="1731" y="116"/>
                  <a:pt x="1731" y="116"/>
                </a:cubicBezTo>
                <a:cubicBezTo>
                  <a:pt x="2032" y="356"/>
                  <a:pt x="2032" y="356"/>
                  <a:pt x="2032" y="356"/>
                </a:cubicBezTo>
                <a:cubicBezTo>
                  <a:pt x="2092" y="356"/>
                  <a:pt x="2092" y="356"/>
                  <a:pt x="2092" y="356"/>
                </a:cubicBezTo>
                <a:cubicBezTo>
                  <a:pt x="2092" y="0"/>
                  <a:pt x="2092" y="0"/>
                  <a:pt x="2092" y="0"/>
                </a:cubicBezTo>
                <a:cubicBezTo>
                  <a:pt x="2014" y="0"/>
                  <a:pt x="2014" y="0"/>
                  <a:pt x="2014" y="0"/>
                </a:cubicBezTo>
                <a:lnTo>
                  <a:pt x="2014" y="237"/>
                </a:lnTo>
                <a:close/>
                <a:moveTo>
                  <a:pt x="2643" y="241"/>
                </a:moveTo>
                <a:cubicBezTo>
                  <a:pt x="2643" y="286"/>
                  <a:pt x="2643" y="286"/>
                  <a:pt x="2643" y="286"/>
                </a:cubicBezTo>
                <a:cubicBezTo>
                  <a:pt x="2643" y="334"/>
                  <a:pt x="2606" y="356"/>
                  <a:pt x="2533" y="356"/>
                </a:cubicBezTo>
                <a:cubicBezTo>
                  <a:pt x="2236" y="356"/>
                  <a:pt x="2236" y="356"/>
                  <a:pt x="2236" y="356"/>
                </a:cubicBezTo>
                <a:cubicBezTo>
                  <a:pt x="2236" y="0"/>
                  <a:pt x="2236" y="0"/>
                  <a:pt x="2236" y="0"/>
                </a:cubicBezTo>
                <a:cubicBezTo>
                  <a:pt x="2556" y="0"/>
                  <a:pt x="2556" y="0"/>
                  <a:pt x="2556" y="0"/>
                </a:cubicBezTo>
                <a:cubicBezTo>
                  <a:pt x="2613" y="0"/>
                  <a:pt x="2640" y="19"/>
                  <a:pt x="2640" y="69"/>
                </a:cubicBezTo>
                <a:cubicBezTo>
                  <a:pt x="2640" y="112"/>
                  <a:pt x="2640" y="112"/>
                  <a:pt x="2640" y="112"/>
                </a:cubicBezTo>
                <a:cubicBezTo>
                  <a:pt x="2640" y="145"/>
                  <a:pt x="2619" y="166"/>
                  <a:pt x="2580" y="173"/>
                </a:cubicBezTo>
                <a:cubicBezTo>
                  <a:pt x="2620" y="179"/>
                  <a:pt x="2643" y="205"/>
                  <a:pt x="2643" y="241"/>
                </a:cubicBezTo>
                <a:close/>
                <a:moveTo>
                  <a:pt x="2322" y="142"/>
                </a:moveTo>
                <a:cubicBezTo>
                  <a:pt x="2517" y="142"/>
                  <a:pt x="2517" y="142"/>
                  <a:pt x="2517" y="142"/>
                </a:cubicBezTo>
                <a:cubicBezTo>
                  <a:pt x="2543" y="142"/>
                  <a:pt x="2555" y="138"/>
                  <a:pt x="2555" y="117"/>
                </a:cubicBezTo>
                <a:cubicBezTo>
                  <a:pt x="2555" y="83"/>
                  <a:pt x="2555" y="83"/>
                  <a:pt x="2555" y="83"/>
                </a:cubicBezTo>
                <a:cubicBezTo>
                  <a:pt x="2555" y="62"/>
                  <a:pt x="2544" y="58"/>
                  <a:pt x="2517" y="58"/>
                </a:cubicBezTo>
                <a:cubicBezTo>
                  <a:pt x="2322" y="58"/>
                  <a:pt x="2322" y="58"/>
                  <a:pt x="2322" y="58"/>
                </a:cubicBezTo>
                <a:lnTo>
                  <a:pt x="2322" y="142"/>
                </a:lnTo>
                <a:close/>
                <a:moveTo>
                  <a:pt x="2559" y="233"/>
                </a:moveTo>
                <a:cubicBezTo>
                  <a:pt x="2559" y="207"/>
                  <a:pt x="2546" y="201"/>
                  <a:pt x="2517" y="201"/>
                </a:cubicBezTo>
                <a:cubicBezTo>
                  <a:pt x="2322" y="201"/>
                  <a:pt x="2322" y="201"/>
                  <a:pt x="2322" y="201"/>
                </a:cubicBezTo>
                <a:cubicBezTo>
                  <a:pt x="2322" y="292"/>
                  <a:pt x="2322" y="292"/>
                  <a:pt x="2322" y="292"/>
                </a:cubicBezTo>
                <a:cubicBezTo>
                  <a:pt x="2517" y="292"/>
                  <a:pt x="2517" y="292"/>
                  <a:pt x="2517" y="292"/>
                </a:cubicBezTo>
                <a:cubicBezTo>
                  <a:pt x="2546" y="292"/>
                  <a:pt x="2559" y="286"/>
                  <a:pt x="2559" y="260"/>
                </a:cubicBezTo>
                <a:lnTo>
                  <a:pt x="2559" y="233"/>
                </a:lnTo>
                <a:close/>
                <a:moveTo>
                  <a:pt x="8980" y="290"/>
                </a:moveTo>
                <a:cubicBezTo>
                  <a:pt x="8980" y="202"/>
                  <a:pt x="8980" y="202"/>
                  <a:pt x="8980" y="202"/>
                </a:cubicBezTo>
                <a:cubicBezTo>
                  <a:pt x="9152" y="202"/>
                  <a:pt x="9152" y="202"/>
                  <a:pt x="9152" y="202"/>
                </a:cubicBezTo>
                <a:cubicBezTo>
                  <a:pt x="9152" y="141"/>
                  <a:pt x="9152" y="141"/>
                  <a:pt x="9152" y="141"/>
                </a:cubicBezTo>
                <a:cubicBezTo>
                  <a:pt x="8980" y="141"/>
                  <a:pt x="8980" y="141"/>
                  <a:pt x="8980" y="141"/>
                </a:cubicBezTo>
                <a:cubicBezTo>
                  <a:pt x="8980" y="63"/>
                  <a:pt x="8980" y="63"/>
                  <a:pt x="8980" y="63"/>
                </a:cubicBezTo>
                <a:cubicBezTo>
                  <a:pt x="9275" y="63"/>
                  <a:pt x="9275" y="63"/>
                  <a:pt x="9275" y="63"/>
                </a:cubicBezTo>
                <a:cubicBezTo>
                  <a:pt x="9275" y="0"/>
                  <a:pt x="9275" y="0"/>
                  <a:pt x="9275" y="0"/>
                </a:cubicBezTo>
                <a:cubicBezTo>
                  <a:pt x="8893" y="0"/>
                  <a:pt x="8893" y="0"/>
                  <a:pt x="8893" y="0"/>
                </a:cubicBezTo>
                <a:cubicBezTo>
                  <a:pt x="8893" y="356"/>
                  <a:pt x="8893" y="356"/>
                  <a:pt x="8893" y="356"/>
                </a:cubicBezTo>
                <a:cubicBezTo>
                  <a:pt x="9279" y="356"/>
                  <a:pt x="9279" y="356"/>
                  <a:pt x="9279" y="356"/>
                </a:cubicBezTo>
                <a:cubicBezTo>
                  <a:pt x="9279" y="290"/>
                  <a:pt x="9279" y="290"/>
                  <a:pt x="9279" y="290"/>
                </a:cubicBezTo>
                <a:lnTo>
                  <a:pt x="8980" y="290"/>
                </a:lnTo>
                <a:close/>
                <a:moveTo>
                  <a:pt x="1227" y="202"/>
                </a:moveTo>
                <a:cubicBezTo>
                  <a:pt x="1399" y="202"/>
                  <a:pt x="1399" y="202"/>
                  <a:pt x="1399" y="202"/>
                </a:cubicBezTo>
                <a:cubicBezTo>
                  <a:pt x="1399" y="141"/>
                  <a:pt x="1399" y="141"/>
                  <a:pt x="1399" y="141"/>
                </a:cubicBezTo>
                <a:cubicBezTo>
                  <a:pt x="1227" y="141"/>
                  <a:pt x="1227" y="141"/>
                  <a:pt x="1227" y="141"/>
                </a:cubicBezTo>
                <a:cubicBezTo>
                  <a:pt x="1227" y="63"/>
                  <a:pt x="1227" y="63"/>
                  <a:pt x="1227" y="63"/>
                </a:cubicBezTo>
                <a:cubicBezTo>
                  <a:pt x="1522" y="63"/>
                  <a:pt x="1522" y="63"/>
                  <a:pt x="1522" y="63"/>
                </a:cubicBezTo>
                <a:cubicBezTo>
                  <a:pt x="1522" y="0"/>
                  <a:pt x="1522" y="0"/>
                  <a:pt x="1522" y="0"/>
                </a:cubicBezTo>
                <a:cubicBezTo>
                  <a:pt x="1140" y="0"/>
                  <a:pt x="1140" y="0"/>
                  <a:pt x="1140" y="0"/>
                </a:cubicBezTo>
                <a:cubicBezTo>
                  <a:pt x="1140" y="356"/>
                  <a:pt x="1140" y="356"/>
                  <a:pt x="1140" y="356"/>
                </a:cubicBezTo>
                <a:cubicBezTo>
                  <a:pt x="1526" y="356"/>
                  <a:pt x="1526" y="356"/>
                  <a:pt x="1526" y="356"/>
                </a:cubicBezTo>
                <a:cubicBezTo>
                  <a:pt x="1526" y="290"/>
                  <a:pt x="1526" y="290"/>
                  <a:pt x="1526" y="290"/>
                </a:cubicBezTo>
                <a:cubicBezTo>
                  <a:pt x="1227" y="290"/>
                  <a:pt x="1227" y="290"/>
                  <a:pt x="1227" y="290"/>
                </a:cubicBezTo>
                <a:lnTo>
                  <a:pt x="1227" y="202"/>
                </a:lnTo>
                <a:close/>
                <a:moveTo>
                  <a:pt x="461" y="84"/>
                </a:moveTo>
                <a:cubicBezTo>
                  <a:pt x="461" y="272"/>
                  <a:pt x="461" y="272"/>
                  <a:pt x="461" y="272"/>
                </a:cubicBezTo>
                <a:cubicBezTo>
                  <a:pt x="461" y="339"/>
                  <a:pt x="438" y="356"/>
                  <a:pt x="368" y="356"/>
                </a:cubicBezTo>
                <a:cubicBezTo>
                  <a:pt x="93" y="356"/>
                  <a:pt x="93" y="356"/>
                  <a:pt x="93" y="356"/>
                </a:cubicBezTo>
                <a:cubicBezTo>
                  <a:pt x="22" y="356"/>
                  <a:pt x="0" y="339"/>
                  <a:pt x="0" y="272"/>
                </a:cubicBezTo>
                <a:cubicBezTo>
                  <a:pt x="0" y="84"/>
                  <a:pt x="0" y="84"/>
                  <a:pt x="0" y="84"/>
                </a:cubicBezTo>
                <a:cubicBezTo>
                  <a:pt x="0" y="16"/>
                  <a:pt x="23" y="0"/>
                  <a:pt x="93" y="0"/>
                </a:cubicBezTo>
                <a:cubicBezTo>
                  <a:pt x="368" y="0"/>
                  <a:pt x="368" y="0"/>
                  <a:pt x="368" y="0"/>
                </a:cubicBezTo>
                <a:cubicBezTo>
                  <a:pt x="438" y="0"/>
                  <a:pt x="461" y="16"/>
                  <a:pt x="461" y="84"/>
                </a:cubicBezTo>
                <a:close/>
                <a:moveTo>
                  <a:pt x="374" y="66"/>
                </a:moveTo>
                <a:cubicBezTo>
                  <a:pt x="87" y="66"/>
                  <a:pt x="87" y="66"/>
                  <a:pt x="87" y="66"/>
                </a:cubicBezTo>
                <a:cubicBezTo>
                  <a:pt x="87" y="288"/>
                  <a:pt x="87" y="288"/>
                  <a:pt x="87" y="288"/>
                </a:cubicBezTo>
                <a:cubicBezTo>
                  <a:pt x="374" y="288"/>
                  <a:pt x="374" y="288"/>
                  <a:pt x="374" y="288"/>
                </a:cubicBezTo>
                <a:lnTo>
                  <a:pt x="374" y="66"/>
                </a:lnTo>
                <a:close/>
                <a:moveTo>
                  <a:pt x="1015" y="69"/>
                </a:moveTo>
                <a:cubicBezTo>
                  <a:pt x="1015" y="148"/>
                  <a:pt x="1015" y="148"/>
                  <a:pt x="1015" y="148"/>
                </a:cubicBezTo>
                <a:cubicBezTo>
                  <a:pt x="1015" y="198"/>
                  <a:pt x="989" y="217"/>
                  <a:pt x="932" y="217"/>
                </a:cubicBezTo>
                <a:cubicBezTo>
                  <a:pt x="697" y="217"/>
                  <a:pt x="697" y="217"/>
                  <a:pt x="697" y="217"/>
                </a:cubicBezTo>
                <a:cubicBezTo>
                  <a:pt x="697" y="356"/>
                  <a:pt x="697" y="356"/>
                  <a:pt x="697" y="356"/>
                </a:cubicBezTo>
                <a:cubicBezTo>
                  <a:pt x="611" y="356"/>
                  <a:pt x="611" y="356"/>
                  <a:pt x="611" y="356"/>
                </a:cubicBezTo>
                <a:cubicBezTo>
                  <a:pt x="611" y="0"/>
                  <a:pt x="611" y="0"/>
                  <a:pt x="611" y="0"/>
                </a:cubicBezTo>
                <a:cubicBezTo>
                  <a:pt x="932" y="0"/>
                  <a:pt x="932" y="0"/>
                  <a:pt x="932" y="0"/>
                </a:cubicBezTo>
                <a:cubicBezTo>
                  <a:pt x="989" y="0"/>
                  <a:pt x="1015" y="19"/>
                  <a:pt x="1015" y="69"/>
                </a:cubicBezTo>
                <a:close/>
                <a:moveTo>
                  <a:pt x="934" y="90"/>
                </a:moveTo>
                <a:cubicBezTo>
                  <a:pt x="934" y="67"/>
                  <a:pt x="921" y="61"/>
                  <a:pt x="895" y="61"/>
                </a:cubicBezTo>
                <a:cubicBezTo>
                  <a:pt x="697" y="61"/>
                  <a:pt x="697" y="61"/>
                  <a:pt x="697" y="61"/>
                </a:cubicBezTo>
                <a:cubicBezTo>
                  <a:pt x="697" y="156"/>
                  <a:pt x="697" y="156"/>
                  <a:pt x="697" y="156"/>
                </a:cubicBezTo>
                <a:cubicBezTo>
                  <a:pt x="895" y="156"/>
                  <a:pt x="895" y="156"/>
                  <a:pt x="895" y="156"/>
                </a:cubicBezTo>
                <a:cubicBezTo>
                  <a:pt x="921" y="156"/>
                  <a:pt x="934" y="151"/>
                  <a:pt x="934" y="127"/>
                </a:cubicBezTo>
                <a:lnTo>
                  <a:pt x="934" y="90"/>
                </a:lnTo>
                <a:close/>
                <a:moveTo>
                  <a:pt x="8648" y="356"/>
                </a:moveTo>
                <a:cubicBezTo>
                  <a:pt x="8735" y="356"/>
                  <a:pt x="8735" y="356"/>
                  <a:pt x="8735" y="356"/>
                </a:cubicBezTo>
                <a:cubicBezTo>
                  <a:pt x="8735" y="0"/>
                  <a:pt x="8735" y="0"/>
                  <a:pt x="8735" y="0"/>
                </a:cubicBezTo>
                <a:cubicBezTo>
                  <a:pt x="8648" y="0"/>
                  <a:pt x="8648" y="0"/>
                  <a:pt x="8648" y="0"/>
                </a:cubicBezTo>
                <a:lnTo>
                  <a:pt x="8648" y="356"/>
                </a:lnTo>
                <a:close/>
                <a:moveTo>
                  <a:pt x="6051" y="237"/>
                </a:moveTo>
                <a:cubicBezTo>
                  <a:pt x="5749" y="0"/>
                  <a:pt x="5749" y="0"/>
                  <a:pt x="5749" y="0"/>
                </a:cubicBezTo>
                <a:cubicBezTo>
                  <a:pt x="5689" y="0"/>
                  <a:pt x="5689" y="0"/>
                  <a:pt x="5689" y="0"/>
                </a:cubicBezTo>
                <a:cubicBezTo>
                  <a:pt x="5689" y="356"/>
                  <a:pt x="5689" y="356"/>
                  <a:pt x="5689" y="356"/>
                </a:cubicBezTo>
                <a:cubicBezTo>
                  <a:pt x="5768" y="356"/>
                  <a:pt x="5768" y="356"/>
                  <a:pt x="5768" y="356"/>
                </a:cubicBezTo>
                <a:cubicBezTo>
                  <a:pt x="5768" y="116"/>
                  <a:pt x="5768" y="116"/>
                  <a:pt x="5768" y="116"/>
                </a:cubicBezTo>
                <a:cubicBezTo>
                  <a:pt x="6070" y="356"/>
                  <a:pt x="6070" y="356"/>
                  <a:pt x="6070" y="356"/>
                </a:cubicBezTo>
                <a:cubicBezTo>
                  <a:pt x="6129" y="356"/>
                  <a:pt x="6129" y="356"/>
                  <a:pt x="6129" y="356"/>
                </a:cubicBezTo>
                <a:cubicBezTo>
                  <a:pt x="6129" y="0"/>
                  <a:pt x="6129" y="0"/>
                  <a:pt x="6129" y="0"/>
                </a:cubicBezTo>
                <a:cubicBezTo>
                  <a:pt x="6051" y="0"/>
                  <a:pt x="6051" y="0"/>
                  <a:pt x="6051" y="0"/>
                </a:cubicBezTo>
                <a:lnTo>
                  <a:pt x="6051" y="237"/>
                </a:lnTo>
                <a:close/>
                <a:moveTo>
                  <a:pt x="5444" y="0"/>
                </a:moveTo>
                <a:cubicBezTo>
                  <a:pt x="5444" y="178"/>
                  <a:pt x="5444" y="178"/>
                  <a:pt x="5444" y="178"/>
                </a:cubicBezTo>
                <a:cubicBezTo>
                  <a:pt x="5444" y="356"/>
                  <a:pt x="5444" y="356"/>
                  <a:pt x="5444" y="356"/>
                </a:cubicBezTo>
                <a:cubicBezTo>
                  <a:pt x="5487" y="356"/>
                  <a:pt x="5487" y="356"/>
                  <a:pt x="5487" y="356"/>
                </a:cubicBezTo>
                <a:cubicBezTo>
                  <a:pt x="5531" y="356"/>
                  <a:pt x="5531" y="356"/>
                  <a:pt x="5531" y="356"/>
                </a:cubicBezTo>
                <a:cubicBezTo>
                  <a:pt x="5531" y="178"/>
                  <a:pt x="5531" y="178"/>
                  <a:pt x="5531" y="178"/>
                </a:cubicBezTo>
                <a:cubicBezTo>
                  <a:pt x="5531" y="0"/>
                  <a:pt x="5531" y="0"/>
                  <a:pt x="5531" y="0"/>
                </a:cubicBezTo>
                <a:cubicBezTo>
                  <a:pt x="5531" y="0"/>
                  <a:pt x="5531" y="0"/>
                  <a:pt x="5531" y="0"/>
                </a:cubicBezTo>
                <a:cubicBezTo>
                  <a:pt x="5444" y="0"/>
                  <a:pt x="5444" y="0"/>
                  <a:pt x="5444" y="0"/>
                </a:cubicBezTo>
                <a:close/>
                <a:moveTo>
                  <a:pt x="6288" y="356"/>
                </a:moveTo>
                <a:cubicBezTo>
                  <a:pt x="6375" y="356"/>
                  <a:pt x="6375" y="356"/>
                  <a:pt x="6375" y="356"/>
                </a:cubicBezTo>
                <a:cubicBezTo>
                  <a:pt x="6375" y="0"/>
                  <a:pt x="6375" y="0"/>
                  <a:pt x="6375" y="0"/>
                </a:cubicBezTo>
                <a:cubicBezTo>
                  <a:pt x="6288" y="0"/>
                  <a:pt x="6288" y="0"/>
                  <a:pt x="6288" y="0"/>
                </a:cubicBezTo>
                <a:lnTo>
                  <a:pt x="6288" y="356"/>
                </a:lnTo>
                <a:close/>
                <a:moveTo>
                  <a:pt x="5042" y="211"/>
                </a:moveTo>
                <a:cubicBezTo>
                  <a:pt x="4868" y="0"/>
                  <a:pt x="4868" y="0"/>
                  <a:pt x="4868" y="0"/>
                </a:cubicBezTo>
                <a:cubicBezTo>
                  <a:pt x="4798" y="0"/>
                  <a:pt x="4798" y="0"/>
                  <a:pt x="4798" y="0"/>
                </a:cubicBezTo>
                <a:cubicBezTo>
                  <a:pt x="4798" y="356"/>
                  <a:pt x="4798" y="356"/>
                  <a:pt x="4798" y="356"/>
                </a:cubicBezTo>
                <a:cubicBezTo>
                  <a:pt x="4868" y="356"/>
                  <a:pt x="4868" y="356"/>
                  <a:pt x="4868" y="356"/>
                </a:cubicBezTo>
                <a:cubicBezTo>
                  <a:pt x="4868" y="117"/>
                  <a:pt x="4868" y="117"/>
                  <a:pt x="4868" y="117"/>
                </a:cubicBezTo>
                <a:cubicBezTo>
                  <a:pt x="5029" y="313"/>
                  <a:pt x="5029" y="313"/>
                  <a:pt x="5029" y="313"/>
                </a:cubicBezTo>
                <a:cubicBezTo>
                  <a:pt x="5046" y="313"/>
                  <a:pt x="5046" y="313"/>
                  <a:pt x="5046" y="313"/>
                </a:cubicBezTo>
                <a:cubicBezTo>
                  <a:pt x="5205" y="111"/>
                  <a:pt x="5205" y="111"/>
                  <a:pt x="5205" y="111"/>
                </a:cubicBezTo>
                <a:cubicBezTo>
                  <a:pt x="5205" y="356"/>
                  <a:pt x="5205" y="356"/>
                  <a:pt x="5205" y="356"/>
                </a:cubicBezTo>
                <a:cubicBezTo>
                  <a:pt x="5286" y="356"/>
                  <a:pt x="5286" y="356"/>
                  <a:pt x="5286" y="356"/>
                </a:cubicBezTo>
                <a:cubicBezTo>
                  <a:pt x="5286" y="0"/>
                  <a:pt x="5286" y="0"/>
                  <a:pt x="5286" y="0"/>
                </a:cubicBezTo>
                <a:cubicBezTo>
                  <a:pt x="5216" y="0"/>
                  <a:pt x="5216" y="0"/>
                  <a:pt x="5216" y="0"/>
                </a:cubicBezTo>
                <a:lnTo>
                  <a:pt x="5042" y="211"/>
                </a:lnTo>
                <a:close/>
                <a:moveTo>
                  <a:pt x="3589" y="0"/>
                </a:moveTo>
                <a:cubicBezTo>
                  <a:pt x="3804" y="356"/>
                  <a:pt x="3804" y="356"/>
                  <a:pt x="3804" y="356"/>
                </a:cubicBezTo>
                <a:cubicBezTo>
                  <a:pt x="3706" y="356"/>
                  <a:pt x="3706" y="356"/>
                  <a:pt x="3706" y="356"/>
                </a:cubicBezTo>
                <a:cubicBezTo>
                  <a:pt x="3662" y="278"/>
                  <a:pt x="3662" y="278"/>
                  <a:pt x="3662" y="278"/>
                </a:cubicBezTo>
                <a:cubicBezTo>
                  <a:pt x="3426" y="278"/>
                  <a:pt x="3426" y="278"/>
                  <a:pt x="3426" y="278"/>
                </a:cubicBezTo>
                <a:cubicBezTo>
                  <a:pt x="3381" y="356"/>
                  <a:pt x="3381" y="356"/>
                  <a:pt x="3381" y="356"/>
                </a:cubicBezTo>
                <a:cubicBezTo>
                  <a:pt x="3294" y="356"/>
                  <a:pt x="3294" y="356"/>
                  <a:pt x="3294" y="356"/>
                </a:cubicBezTo>
                <a:cubicBezTo>
                  <a:pt x="3506" y="0"/>
                  <a:pt x="3506" y="0"/>
                  <a:pt x="3506" y="0"/>
                </a:cubicBezTo>
                <a:lnTo>
                  <a:pt x="3589" y="0"/>
                </a:lnTo>
                <a:close/>
                <a:moveTo>
                  <a:pt x="3626" y="213"/>
                </a:moveTo>
                <a:cubicBezTo>
                  <a:pt x="3543" y="65"/>
                  <a:pt x="3543" y="65"/>
                  <a:pt x="3543" y="65"/>
                </a:cubicBezTo>
                <a:cubicBezTo>
                  <a:pt x="3463" y="213"/>
                  <a:pt x="3463" y="213"/>
                  <a:pt x="3463" y="213"/>
                </a:cubicBezTo>
                <a:lnTo>
                  <a:pt x="3626" y="213"/>
                </a:lnTo>
                <a:close/>
                <a:moveTo>
                  <a:pt x="7676" y="202"/>
                </a:moveTo>
                <a:cubicBezTo>
                  <a:pt x="7848" y="202"/>
                  <a:pt x="7848" y="202"/>
                  <a:pt x="7848" y="202"/>
                </a:cubicBezTo>
                <a:cubicBezTo>
                  <a:pt x="7848" y="141"/>
                  <a:pt x="7848" y="141"/>
                  <a:pt x="7848" y="141"/>
                </a:cubicBezTo>
                <a:cubicBezTo>
                  <a:pt x="7676" y="141"/>
                  <a:pt x="7676" y="141"/>
                  <a:pt x="7676" y="141"/>
                </a:cubicBezTo>
                <a:cubicBezTo>
                  <a:pt x="7676" y="63"/>
                  <a:pt x="7676" y="63"/>
                  <a:pt x="7676" y="63"/>
                </a:cubicBezTo>
                <a:cubicBezTo>
                  <a:pt x="7971" y="63"/>
                  <a:pt x="7971" y="63"/>
                  <a:pt x="7971" y="63"/>
                </a:cubicBezTo>
                <a:cubicBezTo>
                  <a:pt x="7971" y="0"/>
                  <a:pt x="7971" y="0"/>
                  <a:pt x="7971" y="0"/>
                </a:cubicBezTo>
                <a:cubicBezTo>
                  <a:pt x="7589" y="0"/>
                  <a:pt x="7589" y="0"/>
                  <a:pt x="7589" y="0"/>
                </a:cubicBezTo>
                <a:cubicBezTo>
                  <a:pt x="7589" y="356"/>
                  <a:pt x="7589" y="356"/>
                  <a:pt x="7589" y="356"/>
                </a:cubicBezTo>
                <a:cubicBezTo>
                  <a:pt x="7975" y="356"/>
                  <a:pt x="7975" y="356"/>
                  <a:pt x="7975" y="356"/>
                </a:cubicBezTo>
                <a:cubicBezTo>
                  <a:pt x="7975" y="290"/>
                  <a:pt x="7975" y="290"/>
                  <a:pt x="7975" y="290"/>
                </a:cubicBezTo>
                <a:cubicBezTo>
                  <a:pt x="7676" y="290"/>
                  <a:pt x="7676" y="290"/>
                  <a:pt x="7676" y="290"/>
                </a:cubicBezTo>
                <a:lnTo>
                  <a:pt x="7676" y="202"/>
                </a:lnTo>
                <a:close/>
                <a:moveTo>
                  <a:pt x="4164" y="221"/>
                </a:moveTo>
                <a:cubicBezTo>
                  <a:pt x="4334" y="356"/>
                  <a:pt x="4334" y="356"/>
                  <a:pt x="4334" y="356"/>
                </a:cubicBezTo>
                <a:cubicBezTo>
                  <a:pt x="4209" y="356"/>
                  <a:pt x="4209" y="356"/>
                  <a:pt x="4209" y="356"/>
                </a:cubicBezTo>
                <a:cubicBezTo>
                  <a:pt x="4060" y="221"/>
                  <a:pt x="4060" y="221"/>
                  <a:pt x="4060" y="221"/>
                </a:cubicBezTo>
                <a:cubicBezTo>
                  <a:pt x="3978" y="221"/>
                  <a:pt x="3978" y="221"/>
                  <a:pt x="3978" y="221"/>
                </a:cubicBezTo>
                <a:cubicBezTo>
                  <a:pt x="3978" y="356"/>
                  <a:pt x="3978" y="356"/>
                  <a:pt x="3978" y="356"/>
                </a:cubicBezTo>
                <a:cubicBezTo>
                  <a:pt x="3892" y="356"/>
                  <a:pt x="3892" y="356"/>
                  <a:pt x="3892" y="356"/>
                </a:cubicBezTo>
                <a:cubicBezTo>
                  <a:pt x="3892" y="0"/>
                  <a:pt x="3892" y="0"/>
                  <a:pt x="3892" y="0"/>
                </a:cubicBezTo>
                <a:cubicBezTo>
                  <a:pt x="4213" y="0"/>
                  <a:pt x="4213" y="0"/>
                  <a:pt x="4213" y="0"/>
                </a:cubicBezTo>
                <a:cubicBezTo>
                  <a:pt x="4270" y="0"/>
                  <a:pt x="4296" y="19"/>
                  <a:pt x="4296" y="69"/>
                </a:cubicBezTo>
                <a:cubicBezTo>
                  <a:pt x="4296" y="153"/>
                  <a:pt x="4296" y="153"/>
                  <a:pt x="4296" y="153"/>
                </a:cubicBezTo>
                <a:cubicBezTo>
                  <a:pt x="4296" y="202"/>
                  <a:pt x="4270" y="221"/>
                  <a:pt x="4213" y="221"/>
                </a:cubicBezTo>
                <a:lnTo>
                  <a:pt x="4164" y="221"/>
                </a:lnTo>
                <a:close/>
                <a:moveTo>
                  <a:pt x="4176" y="160"/>
                </a:moveTo>
                <a:cubicBezTo>
                  <a:pt x="4202" y="160"/>
                  <a:pt x="4216" y="155"/>
                  <a:pt x="4216" y="131"/>
                </a:cubicBezTo>
                <a:cubicBezTo>
                  <a:pt x="4216" y="90"/>
                  <a:pt x="4216" y="90"/>
                  <a:pt x="4216" y="90"/>
                </a:cubicBezTo>
                <a:cubicBezTo>
                  <a:pt x="4216" y="67"/>
                  <a:pt x="4202" y="61"/>
                  <a:pt x="4176" y="61"/>
                </a:cubicBezTo>
                <a:cubicBezTo>
                  <a:pt x="3978" y="61"/>
                  <a:pt x="3978" y="61"/>
                  <a:pt x="3978" y="61"/>
                </a:cubicBezTo>
                <a:cubicBezTo>
                  <a:pt x="3978" y="160"/>
                  <a:pt x="3978" y="160"/>
                  <a:pt x="3978" y="160"/>
                </a:cubicBezTo>
                <a:lnTo>
                  <a:pt x="4176" y="160"/>
                </a:lnTo>
                <a:close/>
                <a:moveTo>
                  <a:pt x="3015" y="0"/>
                </a:moveTo>
                <a:cubicBezTo>
                  <a:pt x="3230" y="356"/>
                  <a:pt x="3230" y="356"/>
                  <a:pt x="3230" y="356"/>
                </a:cubicBezTo>
                <a:cubicBezTo>
                  <a:pt x="3132" y="356"/>
                  <a:pt x="3132" y="356"/>
                  <a:pt x="3132" y="356"/>
                </a:cubicBezTo>
                <a:cubicBezTo>
                  <a:pt x="3088" y="278"/>
                  <a:pt x="3088" y="278"/>
                  <a:pt x="3088" y="278"/>
                </a:cubicBezTo>
                <a:cubicBezTo>
                  <a:pt x="2852" y="278"/>
                  <a:pt x="2852" y="278"/>
                  <a:pt x="2852" y="278"/>
                </a:cubicBezTo>
                <a:cubicBezTo>
                  <a:pt x="2807" y="356"/>
                  <a:pt x="2807" y="356"/>
                  <a:pt x="2807" y="356"/>
                </a:cubicBezTo>
                <a:cubicBezTo>
                  <a:pt x="2721" y="356"/>
                  <a:pt x="2721" y="356"/>
                  <a:pt x="2721" y="356"/>
                </a:cubicBezTo>
                <a:cubicBezTo>
                  <a:pt x="2932" y="0"/>
                  <a:pt x="2932" y="0"/>
                  <a:pt x="2932" y="0"/>
                </a:cubicBezTo>
                <a:lnTo>
                  <a:pt x="3015" y="0"/>
                </a:lnTo>
                <a:close/>
                <a:moveTo>
                  <a:pt x="3052" y="213"/>
                </a:moveTo>
                <a:cubicBezTo>
                  <a:pt x="2969" y="65"/>
                  <a:pt x="2969" y="65"/>
                  <a:pt x="2969" y="65"/>
                </a:cubicBezTo>
                <a:cubicBezTo>
                  <a:pt x="2889" y="213"/>
                  <a:pt x="2889" y="213"/>
                  <a:pt x="2889" y="213"/>
                </a:cubicBezTo>
                <a:lnTo>
                  <a:pt x="3052" y="213"/>
                </a:lnTo>
                <a:close/>
                <a:moveTo>
                  <a:pt x="7046" y="64"/>
                </a:moveTo>
                <a:cubicBezTo>
                  <a:pt x="7217" y="64"/>
                  <a:pt x="7217" y="64"/>
                  <a:pt x="7217" y="64"/>
                </a:cubicBezTo>
                <a:cubicBezTo>
                  <a:pt x="7217" y="356"/>
                  <a:pt x="7217" y="356"/>
                  <a:pt x="7217" y="356"/>
                </a:cubicBezTo>
                <a:cubicBezTo>
                  <a:pt x="7304" y="356"/>
                  <a:pt x="7304" y="356"/>
                  <a:pt x="7304" y="356"/>
                </a:cubicBezTo>
                <a:cubicBezTo>
                  <a:pt x="7304" y="64"/>
                  <a:pt x="7304" y="64"/>
                  <a:pt x="7304" y="64"/>
                </a:cubicBezTo>
                <a:cubicBezTo>
                  <a:pt x="7477" y="64"/>
                  <a:pt x="7477" y="64"/>
                  <a:pt x="7477" y="64"/>
                </a:cubicBezTo>
                <a:cubicBezTo>
                  <a:pt x="7477" y="0"/>
                  <a:pt x="7477" y="0"/>
                  <a:pt x="7477" y="0"/>
                </a:cubicBezTo>
                <a:cubicBezTo>
                  <a:pt x="7046" y="0"/>
                  <a:pt x="7046" y="0"/>
                  <a:pt x="7046" y="0"/>
                </a:cubicBezTo>
                <a:lnTo>
                  <a:pt x="704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 name="***Titel 1"/>
          <p:cNvSpPr>
            <a:spLocks noGrp="1" noSelect="1"/>
          </p:cNvSpPr>
          <p:nvPr>
            <p:ph type="ctrTitle" hasCustomPrompt="1"/>
          </p:nvPr>
        </p:nvSpPr>
        <p:spPr bwMode="gray">
          <a:xfrm>
            <a:off x="1077861" y="3913999"/>
            <a:ext cx="10040516" cy="685952"/>
          </a:xfrm>
        </p:spPr>
        <p:txBody>
          <a:bodyPr anchor="t" anchorCtr="0"/>
          <a:lstStyle>
            <a:lvl1pPr algn="l">
              <a:defRPr sz="3600" baseline="0">
                <a:solidFill>
                  <a:srgbClr val="FFFFFF"/>
                </a:solidFill>
              </a:defRPr>
            </a:lvl1pPr>
          </a:lstStyle>
          <a:p>
            <a:r>
              <a:rPr lang="nl-NL" noProof="1"/>
              <a:t>[Titel]</a:t>
            </a:r>
          </a:p>
        </p:txBody>
      </p:sp>
      <p:sp>
        <p:nvSpPr>
          <p:cNvPr id="3" name="Ondertitel 2"/>
          <p:cNvSpPr>
            <a:spLocks noGrp="1" noSelect="1"/>
          </p:cNvSpPr>
          <p:nvPr>
            <p:ph type="subTitle" idx="1" hasCustomPrompt="1"/>
          </p:nvPr>
        </p:nvSpPr>
        <p:spPr bwMode="gray">
          <a:xfrm>
            <a:off x="1089134" y="4863460"/>
            <a:ext cx="10029243" cy="288000"/>
          </a:xfrm>
        </p:spPr>
        <p:txBody>
          <a:bodyPr/>
          <a:lstStyle>
            <a:lvl1pPr marL="0" indent="0" algn="l">
              <a:buNone/>
              <a:defRPr>
                <a:solidFill>
                  <a:srgbClr val="FFFFFF"/>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nl-NL" noProof="1"/>
              <a:t>[Subtitel]</a:t>
            </a:r>
          </a:p>
        </p:txBody>
      </p:sp>
      <p:sp>
        <p:nvSpPr>
          <p:cNvPr id="7" name="Tijdelijke aanduiding voor datum 6"/>
          <p:cNvSpPr>
            <a:spLocks noGrp="1" noSelect="1"/>
          </p:cNvSpPr>
          <p:nvPr>
            <p:ph type="dt" sz="half" idx="14"/>
          </p:nvPr>
        </p:nvSpPr>
        <p:spPr/>
        <p:txBody>
          <a:bodyPr/>
          <a:lstStyle/>
          <a:p>
            <a:fld id="{C0474095-6364-4494-AA4A-ACE7BD9D6CBB}" type="datetime4">
              <a:rPr lang="nl-NL" noProof="1" smtClean="0"/>
              <a:t>22 september 2022</a:t>
            </a:fld>
            <a:endParaRPr lang="nl-NL" noProof="1"/>
          </a:p>
        </p:txBody>
      </p:sp>
      <p:sp>
        <p:nvSpPr>
          <p:cNvPr id="9" name="Tijdelijke aanduiding voor voettekst 8"/>
          <p:cNvSpPr>
            <a:spLocks noGrp="1" noSelect="1"/>
          </p:cNvSpPr>
          <p:nvPr>
            <p:ph type="ftr" sz="quarter" idx="15"/>
          </p:nvPr>
        </p:nvSpPr>
        <p:spPr>
          <a:xfrm>
            <a:off x="1080000" y="2217600"/>
            <a:ext cx="10116000" cy="307765"/>
          </a:xfrm>
        </p:spPr>
        <p:txBody>
          <a:bodyPr/>
          <a:lstStyle/>
          <a:p>
            <a:r>
              <a:rPr lang="nl-NL" noProof="1"/>
              <a:t>[Plaats hier de aanduiding van het OM onderdeel]</a:t>
            </a:r>
          </a:p>
        </p:txBody>
      </p:sp>
      <p:sp>
        <p:nvSpPr>
          <p:cNvPr id="12" name="Rechthoek 11"/>
          <p:cNvSpPr>
            <a:spLocks noSelect="1"/>
          </p:cNvSpPr>
          <p:nvPr userDrawn="1"/>
        </p:nvSpPr>
        <p:spPr>
          <a:xfrm>
            <a:off x="-1285778" y="189362"/>
            <a:ext cx="1170156" cy="2520336"/>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nl-NL" sz="1000" dirty="0">
                <a:solidFill>
                  <a:schemeClr val="tx1"/>
                </a:solidFill>
              </a:rPr>
              <a:t>Via Invoegen | Koptekst en voettekst kan de datum, paginanummer en aanduiding</a:t>
            </a:r>
            <a:r>
              <a:rPr lang="nl-NL" sz="1000" baseline="0" dirty="0">
                <a:solidFill>
                  <a:schemeClr val="tx1"/>
                </a:solidFill>
              </a:rPr>
              <a:t> van het OM onderdeel geplaatst worden.</a:t>
            </a:r>
          </a:p>
          <a:p>
            <a:pPr algn="l"/>
            <a:endParaRPr lang="nl-NL" sz="1000" baseline="0" dirty="0">
              <a:solidFill>
                <a:schemeClr val="tx1"/>
              </a:solidFill>
            </a:endParaRPr>
          </a:p>
          <a:p>
            <a:pPr algn="l"/>
            <a:r>
              <a:rPr lang="nl-NL" sz="1000" baseline="0" dirty="0">
                <a:solidFill>
                  <a:schemeClr val="tx1"/>
                </a:solidFill>
              </a:rPr>
              <a:t>Dit instructie vak is niet te zien tijdens de presentatie.</a:t>
            </a:r>
            <a:endParaRPr lang="nl-NL" sz="1000" dirty="0">
              <a:solidFill>
                <a:schemeClr val="tx1"/>
              </a:solidFill>
            </a:endParaRPr>
          </a:p>
        </p:txBody>
      </p:sp>
      <p:sp>
        <p:nvSpPr>
          <p:cNvPr id="13" name="***Spreker"/>
          <p:cNvSpPr>
            <a:spLocks noGrp="1" noSelect="1"/>
          </p:cNvSpPr>
          <p:nvPr>
            <p:ph type="body" sz="quarter" idx="12" hasCustomPrompt="1"/>
          </p:nvPr>
        </p:nvSpPr>
        <p:spPr>
          <a:xfrm>
            <a:off x="1080000" y="720000"/>
            <a:ext cx="10080000" cy="457200"/>
          </a:xfrm>
        </p:spPr>
        <p:txBody>
          <a:bodyPr/>
          <a:lstStyle>
            <a:lvl1pPr marL="0" indent="0">
              <a:spcBef>
                <a:spcPts val="0"/>
              </a:spcBef>
              <a:spcAft>
                <a:spcPts val="0"/>
              </a:spcAft>
              <a:buNone/>
              <a:defRPr b="1" i="0"/>
            </a:lvl1pPr>
            <a:lvl2pPr marL="0" indent="0">
              <a:spcBef>
                <a:spcPts val="0"/>
              </a:spcBef>
              <a:spcAft>
                <a:spcPts val="0"/>
              </a:spcAft>
              <a:buNone/>
              <a:defRPr b="1" i="0"/>
            </a:lvl2pPr>
            <a:lvl3pPr marL="0" indent="0">
              <a:spcBef>
                <a:spcPts val="0"/>
              </a:spcBef>
              <a:spcAft>
                <a:spcPts val="0"/>
              </a:spcAft>
              <a:buNone/>
              <a:defRPr b="1" i="0"/>
            </a:lvl3pPr>
            <a:lvl4pPr marL="0" indent="0">
              <a:spcBef>
                <a:spcPts val="0"/>
              </a:spcBef>
              <a:spcAft>
                <a:spcPts val="0"/>
              </a:spcAft>
              <a:buFont typeface="Arial" panose="020B0604020202020204" pitchFamily="34" charset="0"/>
              <a:buNone/>
              <a:defRPr b="1" i="0"/>
            </a:lvl4pPr>
            <a:lvl5pPr marL="0" indent="0">
              <a:spcBef>
                <a:spcPts val="0"/>
              </a:spcBef>
              <a:spcAft>
                <a:spcPts val="0"/>
              </a:spcAft>
              <a:buFont typeface="Arial" panose="020B0604020202020204" pitchFamily="34" charset="0"/>
              <a:buNone/>
              <a:defRPr b="1" i="0"/>
            </a:lvl5pPr>
            <a:lvl6pPr marL="0" indent="0">
              <a:spcBef>
                <a:spcPts val="0"/>
              </a:spcBef>
              <a:spcAft>
                <a:spcPts val="0"/>
              </a:spcAft>
              <a:buFont typeface="Arial" panose="020B0604020202020204" pitchFamily="34" charset="0"/>
              <a:buNone/>
              <a:defRPr b="1" i="0"/>
            </a:lvl6pPr>
            <a:lvl7pPr marL="0" indent="0">
              <a:spcBef>
                <a:spcPts val="0"/>
              </a:spcBef>
              <a:spcAft>
                <a:spcPts val="0"/>
              </a:spcAft>
              <a:buFont typeface="Arial" panose="020B0604020202020204" pitchFamily="34" charset="0"/>
              <a:buNone/>
              <a:defRPr b="1" i="0"/>
            </a:lvl7pPr>
            <a:lvl8pPr marL="0" indent="0">
              <a:spcBef>
                <a:spcPts val="0"/>
              </a:spcBef>
              <a:spcAft>
                <a:spcPts val="0"/>
              </a:spcAft>
              <a:buFont typeface="Arial" panose="020B0604020202020204" pitchFamily="34" charset="0"/>
              <a:buNone/>
              <a:defRPr b="1" i="0"/>
            </a:lvl8pPr>
            <a:lvl9pPr marL="0" indent="0">
              <a:spcBef>
                <a:spcPts val="0"/>
              </a:spcBef>
              <a:spcAft>
                <a:spcPts val="0"/>
              </a:spcAft>
              <a:buFont typeface="Arial" panose="020B0604020202020204" pitchFamily="34" charset="0"/>
              <a:buNone/>
              <a:defRPr b="1" i="0"/>
            </a:lvl9pPr>
          </a:lstStyle>
          <a:p>
            <a:pPr lvl="0"/>
            <a:r>
              <a:rPr lang="nl-NL" dirty="0"/>
              <a:t>[Naam spreker]</a:t>
            </a:r>
          </a:p>
          <a:p>
            <a:pPr lvl="0"/>
            <a:endParaRPr lang="nl-NL" dirty="0"/>
          </a:p>
        </p:txBody>
      </p:sp>
    </p:spTree>
    <p:extLst>
      <p:ext uri="{BB962C8B-B14F-4D97-AF65-F5344CB8AC3E}">
        <p14:creationId xmlns:p14="http://schemas.microsoft.com/office/powerpoint/2010/main" val="240460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eldia (Paars en Oranje)">
    <p:spTree>
      <p:nvGrpSpPr>
        <p:cNvPr id="1" name=""/>
        <p:cNvGrpSpPr/>
        <p:nvPr/>
      </p:nvGrpSpPr>
      <p:grpSpPr>
        <a:xfrm>
          <a:off x="0" y="0"/>
          <a:ext cx="0" cy="0"/>
          <a:chOff x="0" y="0"/>
          <a:chExt cx="0" cy="0"/>
        </a:xfrm>
      </p:grpSpPr>
      <p:sp>
        <p:nvSpPr>
          <p:cNvPr id="10" name="Rectangle 3"/>
          <p:cNvSpPr>
            <a:spLocks noSelect="1" noChangeArrowheads="1"/>
          </p:cNvSpPr>
          <p:nvPr userDrawn="1"/>
        </p:nvSpPr>
        <p:spPr bwMode="gray">
          <a:xfrm>
            <a:off x="0" y="0"/>
            <a:ext cx="12189600" cy="1709738"/>
          </a:xfrm>
          <a:prstGeom prst="rect">
            <a:avLst/>
          </a:prstGeom>
          <a:solidFill>
            <a:srgbClr val="ED6A00"/>
          </a:solidFill>
          <a:ln>
            <a:noFill/>
          </a:ln>
          <a:effectLst/>
        </p:spPr>
        <p:txBody>
          <a:bodyPr wrap="none" anchor="ctr"/>
          <a:lstStyle/>
          <a:p>
            <a:pPr eaLnBrk="1" hangingPunct="1">
              <a:defRPr/>
            </a:pPr>
            <a:endParaRPr lang="nl-NL" dirty="0">
              <a:latin typeface="Arial Black" charset="0"/>
            </a:endParaRPr>
          </a:p>
        </p:txBody>
      </p:sp>
      <p:sp>
        <p:nvSpPr>
          <p:cNvPr id="15" name="Rechthoek 14"/>
          <p:cNvSpPr>
            <a:spLocks noSelect="1"/>
          </p:cNvSpPr>
          <p:nvPr userDrawn="1"/>
        </p:nvSpPr>
        <p:spPr bwMode="gray">
          <a:xfrm>
            <a:off x="813" y="1696403"/>
            <a:ext cx="12189600" cy="450000"/>
          </a:xfrm>
          <a:prstGeom prst="rect">
            <a:avLst/>
          </a:prstGeom>
          <a:solidFill>
            <a:srgbClr val="001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0" name="Freeform 5"/>
          <p:cNvSpPr>
            <a:spLocks noSelect="1"/>
          </p:cNvSpPr>
          <p:nvPr userDrawn="1"/>
        </p:nvSpPr>
        <p:spPr bwMode="gray">
          <a:xfrm>
            <a:off x="1089025" y="1876425"/>
            <a:ext cx="2944813" cy="114300"/>
          </a:xfrm>
          <a:custGeom>
            <a:avLst/>
            <a:gdLst>
              <a:gd name="T0" fmla="*/ 6618 w 9279"/>
              <a:gd name="T1" fmla="*/ 356 h 356"/>
              <a:gd name="T2" fmla="*/ 6602 w 9279"/>
              <a:gd name="T3" fmla="*/ 290 h 356"/>
              <a:gd name="T4" fmla="*/ 6540 w 9279"/>
              <a:gd name="T5" fmla="*/ 124 h 356"/>
              <a:gd name="T6" fmla="*/ 6938 w 9279"/>
              <a:gd name="T7" fmla="*/ 78 h 356"/>
              <a:gd name="T8" fmla="*/ 6618 w 9279"/>
              <a:gd name="T9" fmla="*/ 64 h 356"/>
              <a:gd name="T10" fmla="*/ 8373 w 9279"/>
              <a:gd name="T11" fmla="*/ 222 h 356"/>
              <a:gd name="T12" fmla="*/ 8186 w 9279"/>
              <a:gd name="T13" fmla="*/ 222 h 356"/>
              <a:gd name="T14" fmla="*/ 8421 w 9279"/>
              <a:gd name="T15" fmla="*/ 0 h 356"/>
              <a:gd name="T16" fmla="*/ 8373 w 9279"/>
              <a:gd name="T17" fmla="*/ 222 h 356"/>
              <a:gd name="T18" fmla="*/ 8384 w 9279"/>
              <a:gd name="T19" fmla="*/ 61 h 356"/>
              <a:gd name="T20" fmla="*/ 2014 w 9279"/>
              <a:gd name="T21" fmla="*/ 237 h 356"/>
              <a:gd name="T22" fmla="*/ 1731 w 9279"/>
              <a:gd name="T23" fmla="*/ 356 h 356"/>
              <a:gd name="T24" fmla="*/ 2092 w 9279"/>
              <a:gd name="T25" fmla="*/ 0 h 356"/>
              <a:gd name="T26" fmla="*/ 2643 w 9279"/>
              <a:gd name="T27" fmla="*/ 286 h 356"/>
              <a:gd name="T28" fmla="*/ 2556 w 9279"/>
              <a:gd name="T29" fmla="*/ 0 h 356"/>
              <a:gd name="T30" fmla="*/ 2643 w 9279"/>
              <a:gd name="T31" fmla="*/ 241 h 356"/>
              <a:gd name="T32" fmla="*/ 2555 w 9279"/>
              <a:gd name="T33" fmla="*/ 83 h 356"/>
              <a:gd name="T34" fmla="*/ 2559 w 9279"/>
              <a:gd name="T35" fmla="*/ 233 h 356"/>
              <a:gd name="T36" fmla="*/ 2517 w 9279"/>
              <a:gd name="T37" fmla="*/ 292 h 356"/>
              <a:gd name="T38" fmla="*/ 8980 w 9279"/>
              <a:gd name="T39" fmla="*/ 202 h 356"/>
              <a:gd name="T40" fmla="*/ 8980 w 9279"/>
              <a:gd name="T41" fmla="*/ 63 h 356"/>
              <a:gd name="T42" fmla="*/ 8893 w 9279"/>
              <a:gd name="T43" fmla="*/ 356 h 356"/>
              <a:gd name="T44" fmla="*/ 1227 w 9279"/>
              <a:gd name="T45" fmla="*/ 202 h 356"/>
              <a:gd name="T46" fmla="*/ 1227 w 9279"/>
              <a:gd name="T47" fmla="*/ 63 h 356"/>
              <a:gd name="T48" fmla="*/ 1140 w 9279"/>
              <a:gd name="T49" fmla="*/ 356 h 356"/>
              <a:gd name="T50" fmla="*/ 1227 w 9279"/>
              <a:gd name="T51" fmla="*/ 202 h 356"/>
              <a:gd name="T52" fmla="*/ 93 w 9279"/>
              <a:gd name="T53" fmla="*/ 356 h 356"/>
              <a:gd name="T54" fmla="*/ 368 w 9279"/>
              <a:gd name="T55" fmla="*/ 0 h 356"/>
              <a:gd name="T56" fmla="*/ 87 w 9279"/>
              <a:gd name="T57" fmla="*/ 288 h 356"/>
              <a:gd name="T58" fmla="*/ 1015 w 9279"/>
              <a:gd name="T59" fmla="*/ 148 h 356"/>
              <a:gd name="T60" fmla="*/ 611 w 9279"/>
              <a:gd name="T61" fmla="*/ 356 h 356"/>
              <a:gd name="T62" fmla="*/ 934 w 9279"/>
              <a:gd name="T63" fmla="*/ 90 h 356"/>
              <a:gd name="T64" fmla="*/ 895 w 9279"/>
              <a:gd name="T65" fmla="*/ 156 h 356"/>
              <a:gd name="T66" fmla="*/ 8735 w 9279"/>
              <a:gd name="T67" fmla="*/ 356 h 356"/>
              <a:gd name="T68" fmla="*/ 6051 w 9279"/>
              <a:gd name="T69" fmla="*/ 237 h 356"/>
              <a:gd name="T70" fmla="*/ 5768 w 9279"/>
              <a:gd name="T71" fmla="*/ 356 h 356"/>
              <a:gd name="T72" fmla="*/ 6129 w 9279"/>
              <a:gd name="T73" fmla="*/ 0 h 356"/>
              <a:gd name="T74" fmla="*/ 5444 w 9279"/>
              <a:gd name="T75" fmla="*/ 178 h 356"/>
              <a:gd name="T76" fmla="*/ 5531 w 9279"/>
              <a:gd name="T77" fmla="*/ 178 h 356"/>
              <a:gd name="T78" fmla="*/ 6288 w 9279"/>
              <a:gd name="T79" fmla="*/ 356 h 356"/>
              <a:gd name="T80" fmla="*/ 6288 w 9279"/>
              <a:gd name="T81" fmla="*/ 356 h 356"/>
              <a:gd name="T82" fmla="*/ 4798 w 9279"/>
              <a:gd name="T83" fmla="*/ 356 h 356"/>
              <a:gd name="T84" fmla="*/ 5046 w 9279"/>
              <a:gd name="T85" fmla="*/ 313 h 356"/>
              <a:gd name="T86" fmla="*/ 5286 w 9279"/>
              <a:gd name="T87" fmla="*/ 0 h 356"/>
              <a:gd name="T88" fmla="*/ 3804 w 9279"/>
              <a:gd name="T89" fmla="*/ 356 h 356"/>
              <a:gd name="T90" fmla="*/ 3381 w 9279"/>
              <a:gd name="T91" fmla="*/ 356 h 356"/>
              <a:gd name="T92" fmla="*/ 3626 w 9279"/>
              <a:gd name="T93" fmla="*/ 213 h 356"/>
              <a:gd name="T94" fmla="*/ 7676 w 9279"/>
              <a:gd name="T95" fmla="*/ 202 h 356"/>
              <a:gd name="T96" fmla="*/ 7676 w 9279"/>
              <a:gd name="T97" fmla="*/ 63 h 356"/>
              <a:gd name="T98" fmla="*/ 7589 w 9279"/>
              <a:gd name="T99" fmla="*/ 356 h 356"/>
              <a:gd name="T100" fmla="*/ 7676 w 9279"/>
              <a:gd name="T101" fmla="*/ 202 h 356"/>
              <a:gd name="T102" fmla="*/ 4060 w 9279"/>
              <a:gd name="T103" fmla="*/ 221 h 356"/>
              <a:gd name="T104" fmla="*/ 3892 w 9279"/>
              <a:gd name="T105" fmla="*/ 0 h 356"/>
              <a:gd name="T106" fmla="*/ 4213 w 9279"/>
              <a:gd name="T107" fmla="*/ 221 h 356"/>
              <a:gd name="T108" fmla="*/ 4216 w 9279"/>
              <a:gd name="T109" fmla="*/ 90 h 356"/>
              <a:gd name="T110" fmla="*/ 4176 w 9279"/>
              <a:gd name="T111" fmla="*/ 160 h 356"/>
              <a:gd name="T112" fmla="*/ 3088 w 9279"/>
              <a:gd name="T113" fmla="*/ 278 h 356"/>
              <a:gd name="T114" fmla="*/ 2932 w 9279"/>
              <a:gd name="T115" fmla="*/ 0 h 356"/>
              <a:gd name="T116" fmla="*/ 2889 w 9279"/>
              <a:gd name="T117" fmla="*/ 213 h 356"/>
              <a:gd name="T118" fmla="*/ 7217 w 9279"/>
              <a:gd name="T119" fmla="*/ 356 h 356"/>
              <a:gd name="T120" fmla="*/ 7477 w 9279"/>
              <a:gd name="T121"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79" h="356">
                <a:moveTo>
                  <a:pt x="6942" y="223"/>
                </a:moveTo>
                <a:cubicBezTo>
                  <a:pt x="6942" y="272"/>
                  <a:pt x="6942" y="272"/>
                  <a:pt x="6942" y="272"/>
                </a:cubicBezTo>
                <a:cubicBezTo>
                  <a:pt x="6942" y="339"/>
                  <a:pt x="6920" y="356"/>
                  <a:pt x="6849" y="356"/>
                </a:cubicBezTo>
                <a:cubicBezTo>
                  <a:pt x="6618" y="356"/>
                  <a:pt x="6618" y="356"/>
                  <a:pt x="6618" y="356"/>
                </a:cubicBezTo>
                <a:cubicBezTo>
                  <a:pt x="6547" y="356"/>
                  <a:pt x="6524" y="339"/>
                  <a:pt x="6524" y="272"/>
                </a:cubicBezTo>
                <a:cubicBezTo>
                  <a:pt x="6524" y="262"/>
                  <a:pt x="6524" y="262"/>
                  <a:pt x="6524" y="262"/>
                </a:cubicBezTo>
                <a:cubicBezTo>
                  <a:pt x="6602" y="248"/>
                  <a:pt x="6602" y="248"/>
                  <a:pt x="6602" y="248"/>
                </a:cubicBezTo>
                <a:cubicBezTo>
                  <a:pt x="6602" y="290"/>
                  <a:pt x="6602" y="290"/>
                  <a:pt x="6602" y="290"/>
                </a:cubicBezTo>
                <a:cubicBezTo>
                  <a:pt x="6864" y="290"/>
                  <a:pt x="6864" y="290"/>
                  <a:pt x="6864" y="290"/>
                </a:cubicBezTo>
                <a:cubicBezTo>
                  <a:pt x="6864" y="208"/>
                  <a:pt x="6864" y="208"/>
                  <a:pt x="6864" y="208"/>
                </a:cubicBezTo>
                <a:cubicBezTo>
                  <a:pt x="6633" y="208"/>
                  <a:pt x="6633" y="208"/>
                  <a:pt x="6633" y="208"/>
                </a:cubicBezTo>
                <a:cubicBezTo>
                  <a:pt x="6563" y="208"/>
                  <a:pt x="6540" y="191"/>
                  <a:pt x="6540" y="124"/>
                </a:cubicBezTo>
                <a:cubicBezTo>
                  <a:pt x="6540" y="84"/>
                  <a:pt x="6540" y="84"/>
                  <a:pt x="6540" y="84"/>
                </a:cubicBezTo>
                <a:cubicBezTo>
                  <a:pt x="6540" y="17"/>
                  <a:pt x="6563" y="0"/>
                  <a:pt x="6633" y="0"/>
                </a:cubicBezTo>
                <a:cubicBezTo>
                  <a:pt x="6844" y="0"/>
                  <a:pt x="6844" y="0"/>
                  <a:pt x="6844" y="0"/>
                </a:cubicBezTo>
                <a:cubicBezTo>
                  <a:pt x="6910" y="0"/>
                  <a:pt x="6938" y="15"/>
                  <a:pt x="6938" y="78"/>
                </a:cubicBezTo>
                <a:cubicBezTo>
                  <a:pt x="6938" y="86"/>
                  <a:pt x="6938" y="86"/>
                  <a:pt x="6938" y="86"/>
                </a:cubicBezTo>
                <a:cubicBezTo>
                  <a:pt x="6863" y="102"/>
                  <a:pt x="6863" y="102"/>
                  <a:pt x="6863" y="102"/>
                </a:cubicBezTo>
                <a:cubicBezTo>
                  <a:pt x="6863" y="64"/>
                  <a:pt x="6863" y="64"/>
                  <a:pt x="6863" y="64"/>
                </a:cubicBezTo>
                <a:cubicBezTo>
                  <a:pt x="6618" y="64"/>
                  <a:pt x="6618" y="64"/>
                  <a:pt x="6618" y="64"/>
                </a:cubicBezTo>
                <a:cubicBezTo>
                  <a:pt x="6618" y="139"/>
                  <a:pt x="6618" y="139"/>
                  <a:pt x="6618" y="139"/>
                </a:cubicBezTo>
                <a:cubicBezTo>
                  <a:pt x="6849" y="139"/>
                  <a:pt x="6849" y="139"/>
                  <a:pt x="6849" y="139"/>
                </a:cubicBezTo>
                <a:cubicBezTo>
                  <a:pt x="6920" y="139"/>
                  <a:pt x="6942" y="156"/>
                  <a:pt x="6942" y="223"/>
                </a:cubicBezTo>
                <a:close/>
                <a:moveTo>
                  <a:pt x="8373" y="222"/>
                </a:moveTo>
                <a:cubicBezTo>
                  <a:pt x="8542" y="356"/>
                  <a:pt x="8542" y="356"/>
                  <a:pt x="8542" y="356"/>
                </a:cubicBezTo>
                <a:cubicBezTo>
                  <a:pt x="8417" y="356"/>
                  <a:pt x="8417" y="356"/>
                  <a:pt x="8417" y="356"/>
                </a:cubicBezTo>
                <a:cubicBezTo>
                  <a:pt x="8268" y="222"/>
                  <a:pt x="8268" y="222"/>
                  <a:pt x="8268" y="222"/>
                </a:cubicBezTo>
                <a:cubicBezTo>
                  <a:pt x="8186" y="222"/>
                  <a:pt x="8186" y="222"/>
                  <a:pt x="8186" y="222"/>
                </a:cubicBezTo>
                <a:cubicBezTo>
                  <a:pt x="8186" y="356"/>
                  <a:pt x="8186" y="356"/>
                  <a:pt x="8186" y="356"/>
                </a:cubicBezTo>
                <a:cubicBezTo>
                  <a:pt x="8101" y="356"/>
                  <a:pt x="8101" y="356"/>
                  <a:pt x="8101" y="356"/>
                </a:cubicBezTo>
                <a:cubicBezTo>
                  <a:pt x="8101" y="0"/>
                  <a:pt x="8101" y="0"/>
                  <a:pt x="8101" y="0"/>
                </a:cubicBezTo>
                <a:cubicBezTo>
                  <a:pt x="8421" y="0"/>
                  <a:pt x="8421" y="0"/>
                  <a:pt x="8421" y="0"/>
                </a:cubicBezTo>
                <a:cubicBezTo>
                  <a:pt x="8479" y="0"/>
                  <a:pt x="8505" y="19"/>
                  <a:pt x="8505" y="69"/>
                </a:cubicBezTo>
                <a:cubicBezTo>
                  <a:pt x="8505" y="153"/>
                  <a:pt x="8505" y="153"/>
                  <a:pt x="8505" y="153"/>
                </a:cubicBezTo>
                <a:cubicBezTo>
                  <a:pt x="8505" y="202"/>
                  <a:pt x="8479" y="222"/>
                  <a:pt x="8421" y="222"/>
                </a:cubicBezTo>
                <a:lnTo>
                  <a:pt x="8373" y="222"/>
                </a:lnTo>
                <a:close/>
                <a:moveTo>
                  <a:pt x="8384" y="160"/>
                </a:moveTo>
                <a:cubicBezTo>
                  <a:pt x="8410" y="160"/>
                  <a:pt x="8424" y="155"/>
                  <a:pt x="8424" y="131"/>
                </a:cubicBezTo>
                <a:cubicBezTo>
                  <a:pt x="8424" y="90"/>
                  <a:pt x="8424" y="90"/>
                  <a:pt x="8424" y="90"/>
                </a:cubicBezTo>
                <a:cubicBezTo>
                  <a:pt x="8424" y="67"/>
                  <a:pt x="8410" y="61"/>
                  <a:pt x="8384" y="61"/>
                </a:cubicBezTo>
                <a:cubicBezTo>
                  <a:pt x="8186" y="61"/>
                  <a:pt x="8186" y="61"/>
                  <a:pt x="8186" y="61"/>
                </a:cubicBezTo>
                <a:cubicBezTo>
                  <a:pt x="8186" y="160"/>
                  <a:pt x="8186" y="160"/>
                  <a:pt x="8186" y="160"/>
                </a:cubicBezTo>
                <a:lnTo>
                  <a:pt x="8384" y="160"/>
                </a:lnTo>
                <a:close/>
                <a:moveTo>
                  <a:pt x="2014" y="237"/>
                </a:moveTo>
                <a:cubicBezTo>
                  <a:pt x="1711" y="0"/>
                  <a:pt x="1711" y="0"/>
                  <a:pt x="1711" y="0"/>
                </a:cubicBezTo>
                <a:cubicBezTo>
                  <a:pt x="1652" y="0"/>
                  <a:pt x="1652" y="0"/>
                  <a:pt x="1652" y="0"/>
                </a:cubicBezTo>
                <a:cubicBezTo>
                  <a:pt x="1652" y="356"/>
                  <a:pt x="1652" y="356"/>
                  <a:pt x="1652" y="356"/>
                </a:cubicBezTo>
                <a:cubicBezTo>
                  <a:pt x="1731" y="356"/>
                  <a:pt x="1731" y="356"/>
                  <a:pt x="1731" y="356"/>
                </a:cubicBezTo>
                <a:cubicBezTo>
                  <a:pt x="1731" y="116"/>
                  <a:pt x="1731" y="116"/>
                  <a:pt x="1731" y="116"/>
                </a:cubicBezTo>
                <a:cubicBezTo>
                  <a:pt x="2032" y="356"/>
                  <a:pt x="2032" y="356"/>
                  <a:pt x="2032" y="356"/>
                </a:cubicBezTo>
                <a:cubicBezTo>
                  <a:pt x="2092" y="356"/>
                  <a:pt x="2092" y="356"/>
                  <a:pt x="2092" y="356"/>
                </a:cubicBezTo>
                <a:cubicBezTo>
                  <a:pt x="2092" y="0"/>
                  <a:pt x="2092" y="0"/>
                  <a:pt x="2092" y="0"/>
                </a:cubicBezTo>
                <a:cubicBezTo>
                  <a:pt x="2014" y="0"/>
                  <a:pt x="2014" y="0"/>
                  <a:pt x="2014" y="0"/>
                </a:cubicBezTo>
                <a:lnTo>
                  <a:pt x="2014" y="237"/>
                </a:lnTo>
                <a:close/>
                <a:moveTo>
                  <a:pt x="2643" y="241"/>
                </a:moveTo>
                <a:cubicBezTo>
                  <a:pt x="2643" y="286"/>
                  <a:pt x="2643" y="286"/>
                  <a:pt x="2643" y="286"/>
                </a:cubicBezTo>
                <a:cubicBezTo>
                  <a:pt x="2643" y="334"/>
                  <a:pt x="2606" y="356"/>
                  <a:pt x="2533" y="356"/>
                </a:cubicBezTo>
                <a:cubicBezTo>
                  <a:pt x="2236" y="356"/>
                  <a:pt x="2236" y="356"/>
                  <a:pt x="2236" y="356"/>
                </a:cubicBezTo>
                <a:cubicBezTo>
                  <a:pt x="2236" y="0"/>
                  <a:pt x="2236" y="0"/>
                  <a:pt x="2236" y="0"/>
                </a:cubicBezTo>
                <a:cubicBezTo>
                  <a:pt x="2556" y="0"/>
                  <a:pt x="2556" y="0"/>
                  <a:pt x="2556" y="0"/>
                </a:cubicBezTo>
                <a:cubicBezTo>
                  <a:pt x="2613" y="0"/>
                  <a:pt x="2640" y="19"/>
                  <a:pt x="2640" y="69"/>
                </a:cubicBezTo>
                <a:cubicBezTo>
                  <a:pt x="2640" y="112"/>
                  <a:pt x="2640" y="112"/>
                  <a:pt x="2640" y="112"/>
                </a:cubicBezTo>
                <a:cubicBezTo>
                  <a:pt x="2640" y="145"/>
                  <a:pt x="2619" y="166"/>
                  <a:pt x="2580" y="173"/>
                </a:cubicBezTo>
                <a:cubicBezTo>
                  <a:pt x="2620" y="179"/>
                  <a:pt x="2643" y="205"/>
                  <a:pt x="2643" y="241"/>
                </a:cubicBezTo>
                <a:close/>
                <a:moveTo>
                  <a:pt x="2322" y="142"/>
                </a:moveTo>
                <a:cubicBezTo>
                  <a:pt x="2517" y="142"/>
                  <a:pt x="2517" y="142"/>
                  <a:pt x="2517" y="142"/>
                </a:cubicBezTo>
                <a:cubicBezTo>
                  <a:pt x="2543" y="142"/>
                  <a:pt x="2555" y="138"/>
                  <a:pt x="2555" y="117"/>
                </a:cubicBezTo>
                <a:cubicBezTo>
                  <a:pt x="2555" y="83"/>
                  <a:pt x="2555" y="83"/>
                  <a:pt x="2555" y="83"/>
                </a:cubicBezTo>
                <a:cubicBezTo>
                  <a:pt x="2555" y="62"/>
                  <a:pt x="2544" y="58"/>
                  <a:pt x="2517" y="58"/>
                </a:cubicBezTo>
                <a:cubicBezTo>
                  <a:pt x="2322" y="58"/>
                  <a:pt x="2322" y="58"/>
                  <a:pt x="2322" y="58"/>
                </a:cubicBezTo>
                <a:lnTo>
                  <a:pt x="2322" y="142"/>
                </a:lnTo>
                <a:close/>
                <a:moveTo>
                  <a:pt x="2559" y="233"/>
                </a:moveTo>
                <a:cubicBezTo>
                  <a:pt x="2559" y="207"/>
                  <a:pt x="2546" y="201"/>
                  <a:pt x="2517" y="201"/>
                </a:cubicBezTo>
                <a:cubicBezTo>
                  <a:pt x="2322" y="201"/>
                  <a:pt x="2322" y="201"/>
                  <a:pt x="2322" y="201"/>
                </a:cubicBezTo>
                <a:cubicBezTo>
                  <a:pt x="2322" y="292"/>
                  <a:pt x="2322" y="292"/>
                  <a:pt x="2322" y="292"/>
                </a:cubicBezTo>
                <a:cubicBezTo>
                  <a:pt x="2517" y="292"/>
                  <a:pt x="2517" y="292"/>
                  <a:pt x="2517" y="292"/>
                </a:cubicBezTo>
                <a:cubicBezTo>
                  <a:pt x="2546" y="292"/>
                  <a:pt x="2559" y="286"/>
                  <a:pt x="2559" y="260"/>
                </a:cubicBezTo>
                <a:lnTo>
                  <a:pt x="2559" y="233"/>
                </a:lnTo>
                <a:close/>
                <a:moveTo>
                  <a:pt x="8980" y="290"/>
                </a:moveTo>
                <a:cubicBezTo>
                  <a:pt x="8980" y="202"/>
                  <a:pt x="8980" y="202"/>
                  <a:pt x="8980" y="202"/>
                </a:cubicBezTo>
                <a:cubicBezTo>
                  <a:pt x="9152" y="202"/>
                  <a:pt x="9152" y="202"/>
                  <a:pt x="9152" y="202"/>
                </a:cubicBezTo>
                <a:cubicBezTo>
                  <a:pt x="9152" y="141"/>
                  <a:pt x="9152" y="141"/>
                  <a:pt x="9152" y="141"/>
                </a:cubicBezTo>
                <a:cubicBezTo>
                  <a:pt x="8980" y="141"/>
                  <a:pt x="8980" y="141"/>
                  <a:pt x="8980" y="141"/>
                </a:cubicBezTo>
                <a:cubicBezTo>
                  <a:pt x="8980" y="63"/>
                  <a:pt x="8980" y="63"/>
                  <a:pt x="8980" y="63"/>
                </a:cubicBezTo>
                <a:cubicBezTo>
                  <a:pt x="9275" y="63"/>
                  <a:pt x="9275" y="63"/>
                  <a:pt x="9275" y="63"/>
                </a:cubicBezTo>
                <a:cubicBezTo>
                  <a:pt x="9275" y="0"/>
                  <a:pt x="9275" y="0"/>
                  <a:pt x="9275" y="0"/>
                </a:cubicBezTo>
                <a:cubicBezTo>
                  <a:pt x="8893" y="0"/>
                  <a:pt x="8893" y="0"/>
                  <a:pt x="8893" y="0"/>
                </a:cubicBezTo>
                <a:cubicBezTo>
                  <a:pt x="8893" y="356"/>
                  <a:pt x="8893" y="356"/>
                  <a:pt x="8893" y="356"/>
                </a:cubicBezTo>
                <a:cubicBezTo>
                  <a:pt x="9279" y="356"/>
                  <a:pt x="9279" y="356"/>
                  <a:pt x="9279" y="356"/>
                </a:cubicBezTo>
                <a:cubicBezTo>
                  <a:pt x="9279" y="290"/>
                  <a:pt x="9279" y="290"/>
                  <a:pt x="9279" y="290"/>
                </a:cubicBezTo>
                <a:lnTo>
                  <a:pt x="8980" y="290"/>
                </a:lnTo>
                <a:close/>
                <a:moveTo>
                  <a:pt x="1227" y="202"/>
                </a:moveTo>
                <a:cubicBezTo>
                  <a:pt x="1399" y="202"/>
                  <a:pt x="1399" y="202"/>
                  <a:pt x="1399" y="202"/>
                </a:cubicBezTo>
                <a:cubicBezTo>
                  <a:pt x="1399" y="141"/>
                  <a:pt x="1399" y="141"/>
                  <a:pt x="1399" y="141"/>
                </a:cubicBezTo>
                <a:cubicBezTo>
                  <a:pt x="1227" y="141"/>
                  <a:pt x="1227" y="141"/>
                  <a:pt x="1227" y="141"/>
                </a:cubicBezTo>
                <a:cubicBezTo>
                  <a:pt x="1227" y="63"/>
                  <a:pt x="1227" y="63"/>
                  <a:pt x="1227" y="63"/>
                </a:cubicBezTo>
                <a:cubicBezTo>
                  <a:pt x="1522" y="63"/>
                  <a:pt x="1522" y="63"/>
                  <a:pt x="1522" y="63"/>
                </a:cubicBezTo>
                <a:cubicBezTo>
                  <a:pt x="1522" y="0"/>
                  <a:pt x="1522" y="0"/>
                  <a:pt x="1522" y="0"/>
                </a:cubicBezTo>
                <a:cubicBezTo>
                  <a:pt x="1140" y="0"/>
                  <a:pt x="1140" y="0"/>
                  <a:pt x="1140" y="0"/>
                </a:cubicBezTo>
                <a:cubicBezTo>
                  <a:pt x="1140" y="356"/>
                  <a:pt x="1140" y="356"/>
                  <a:pt x="1140" y="356"/>
                </a:cubicBezTo>
                <a:cubicBezTo>
                  <a:pt x="1526" y="356"/>
                  <a:pt x="1526" y="356"/>
                  <a:pt x="1526" y="356"/>
                </a:cubicBezTo>
                <a:cubicBezTo>
                  <a:pt x="1526" y="290"/>
                  <a:pt x="1526" y="290"/>
                  <a:pt x="1526" y="290"/>
                </a:cubicBezTo>
                <a:cubicBezTo>
                  <a:pt x="1227" y="290"/>
                  <a:pt x="1227" y="290"/>
                  <a:pt x="1227" y="290"/>
                </a:cubicBezTo>
                <a:lnTo>
                  <a:pt x="1227" y="202"/>
                </a:lnTo>
                <a:close/>
                <a:moveTo>
                  <a:pt x="461" y="84"/>
                </a:moveTo>
                <a:cubicBezTo>
                  <a:pt x="461" y="272"/>
                  <a:pt x="461" y="272"/>
                  <a:pt x="461" y="272"/>
                </a:cubicBezTo>
                <a:cubicBezTo>
                  <a:pt x="461" y="339"/>
                  <a:pt x="438" y="356"/>
                  <a:pt x="368" y="356"/>
                </a:cubicBezTo>
                <a:cubicBezTo>
                  <a:pt x="93" y="356"/>
                  <a:pt x="93" y="356"/>
                  <a:pt x="93" y="356"/>
                </a:cubicBezTo>
                <a:cubicBezTo>
                  <a:pt x="22" y="356"/>
                  <a:pt x="0" y="339"/>
                  <a:pt x="0" y="272"/>
                </a:cubicBezTo>
                <a:cubicBezTo>
                  <a:pt x="0" y="84"/>
                  <a:pt x="0" y="84"/>
                  <a:pt x="0" y="84"/>
                </a:cubicBezTo>
                <a:cubicBezTo>
                  <a:pt x="0" y="16"/>
                  <a:pt x="23" y="0"/>
                  <a:pt x="93" y="0"/>
                </a:cubicBezTo>
                <a:cubicBezTo>
                  <a:pt x="368" y="0"/>
                  <a:pt x="368" y="0"/>
                  <a:pt x="368" y="0"/>
                </a:cubicBezTo>
                <a:cubicBezTo>
                  <a:pt x="438" y="0"/>
                  <a:pt x="461" y="16"/>
                  <a:pt x="461" y="84"/>
                </a:cubicBezTo>
                <a:close/>
                <a:moveTo>
                  <a:pt x="374" y="66"/>
                </a:moveTo>
                <a:cubicBezTo>
                  <a:pt x="87" y="66"/>
                  <a:pt x="87" y="66"/>
                  <a:pt x="87" y="66"/>
                </a:cubicBezTo>
                <a:cubicBezTo>
                  <a:pt x="87" y="288"/>
                  <a:pt x="87" y="288"/>
                  <a:pt x="87" y="288"/>
                </a:cubicBezTo>
                <a:cubicBezTo>
                  <a:pt x="374" y="288"/>
                  <a:pt x="374" y="288"/>
                  <a:pt x="374" y="288"/>
                </a:cubicBezTo>
                <a:lnTo>
                  <a:pt x="374" y="66"/>
                </a:lnTo>
                <a:close/>
                <a:moveTo>
                  <a:pt x="1015" y="69"/>
                </a:moveTo>
                <a:cubicBezTo>
                  <a:pt x="1015" y="148"/>
                  <a:pt x="1015" y="148"/>
                  <a:pt x="1015" y="148"/>
                </a:cubicBezTo>
                <a:cubicBezTo>
                  <a:pt x="1015" y="198"/>
                  <a:pt x="989" y="217"/>
                  <a:pt x="932" y="217"/>
                </a:cubicBezTo>
                <a:cubicBezTo>
                  <a:pt x="697" y="217"/>
                  <a:pt x="697" y="217"/>
                  <a:pt x="697" y="217"/>
                </a:cubicBezTo>
                <a:cubicBezTo>
                  <a:pt x="697" y="356"/>
                  <a:pt x="697" y="356"/>
                  <a:pt x="697" y="356"/>
                </a:cubicBezTo>
                <a:cubicBezTo>
                  <a:pt x="611" y="356"/>
                  <a:pt x="611" y="356"/>
                  <a:pt x="611" y="356"/>
                </a:cubicBezTo>
                <a:cubicBezTo>
                  <a:pt x="611" y="0"/>
                  <a:pt x="611" y="0"/>
                  <a:pt x="611" y="0"/>
                </a:cubicBezTo>
                <a:cubicBezTo>
                  <a:pt x="932" y="0"/>
                  <a:pt x="932" y="0"/>
                  <a:pt x="932" y="0"/>
                </a:cubicBezTo>
                <a:cubicBezTo>
                  <a:pt x="989" y="0"/>
                  <a:pt x="1015" y="19"/>
                  <a:pt x="1015" y="69"/>
                </a:cubicBezTo>
                <a:close/>
                <a:moveTo>
                  <a:pt x="934" y="90"/>
                </a:moveTo>
                <a:cubicBezTo>
                  <a:pt x="934" y="67"/>
                  <a:pt x="921" y="61"/>
                  <a:pt x="895" y="61"/>
                </a:cubicBezTo>
                <a:cubicBezTo>
                  <a:pt x="697" y="61"/>
                  <a:pt x="697" y="61"/>
                  <a:pt x="697" y="61"/>
                </a:cubicBezTo>
                <a:cubicBezTo>
                  <a:pt x="697" y="156"/>
                  <a:pt x="697" y="156"/>
                  <a:pt x="697" y="156"/>
                </a:cubicBezTo>
                <a:cubicBezTo>
                  <a:pt x="895" y="156"/>
                  <a:pt x="895" y="156"/>
                  <a:pt x="895" y="156"/>
                </a:cubicBezTo>
                <a:cubicBezTo>
                  <a:pt x="921" y="156"/>
                  <a:pt x="934" y="151"/>
                  <a:pt x="934" y="127"/>
                </a:cubicBezTo>
                <a:lnTo>
                  <a:pt x="934" y="90"/>
                </a:lnTo>
                <a:close/>
                <a:moveTo>
                  <a:pt x="8648" y="356"/>
                </a:moveTo>
                <a:cubicBezTo>
                  <a:pt x="8735" y="356"/>
                  <a:pt x="8735" y="356"/>
                  <a:pt x="8735" y="356"/>
                </a:cubicBezTo>
                <a:cubicBezTo>
                  <a:pt x="8735" y="0"/>
                  <a:pt x="8735" y="0"/>
                  <a:pt x="8735" y="0"/>
                </a:cubicBezTo>
                <a:cubicBezTo>
                  <a:pt x="8648" y="0"/>
                  <a:pt x="8648" y="0"/>
                  <a:pt x="8648" y="0"/>
                </a:cubicBezTo>
                <a:lnTo>
                  <a:pt x="8648" y="356"/>
                </a:lnTo>
                <a:close/>
                <a:moveTo>
                  <a:pt x="6051" y="237"/>
                </a:moveTo>
                <a:cubicBezTo>
                  <a:pt x="5749" y="0"/>
                  <a:pt x="5749" y="0"/>
                  <a:pt x="5749" y="0"/>
                </a:cubicBezTo>
                <a:cubicBezTo>
                  <a:pt x="5689" y="0"/>
                  <a:pt x="5689" y="0"/>
                  <a:pt x="5689" y="0"/>
                </a:cubicBezTo>
                <a:cubicBezTo>
                  <a:pt x="5689" y="356"/>
                  <a:pt x="5689" y="356"/>
                  <a:pt x="5689" y="356"/>
                </a:cubicBezTo>
                <a:cubicBezTo>
                  <a:pt x="5768" y="356"/>
                  <a:pt x="5768" y="356"/>
                  <a:pt x="5768" y="356"/>
                </a:cubicBezTo>
                <a:cubicBezTo>
                  <a:pt x="5768" y="116"/>
                  <a:pt x="5768" y="116"/>
                  <a:pt x="5768" y="116"/>
                </a:cubicBezTo>
                <a:cubicBezTo>
                  <a:pt x="6070" y="356"/>
                  <a:pt x="6070" y="356"/>
                  <a:pt x="6070" y="356"/>
                </a:cubicBezTo>
                <a:cubicBezTo>
                  <a:pt x="6129" y="356"/>
                  <a:pt x="6129" y="356"/>
                  <a:pt x="6129" y="356"/>
                </a:cubicBezTo>
                <a:cubicBezTo>
                  <a:pt x="6129" y="0"/>
                  <a:pt x="6129" y="0"/>
                  <a:pt x="6129" y="0"/>
                </a:cubicBezTo>
                <a:cubicBezTo>
                  <a:pt x="6051" y="0"/>
                  <a:pt x="6051" y="0"/>
                  <a:pt x="6051" y="0"/>
                </a:cubicBezTo>
                <a:lnTo>
                  <a:pt x="6051" y="237"/>
                </a:lnTo>
                <a:close/>
                <a:moveTo>
                  <a:pt x="5444" y="0"/>
                </a:moveTo>
                <a:cubicBezTo>
                  <a:pt x="5444" y="178"/>
                  <a:pt x="5444" y="178"/>
                  <a:pt x="5444" y="178"/>
                </a:cubicBezTo>
                <a:cubicBezTo>
                  <a:pt x="5444" y="356"/>
                  <a:pt x="5444" y="356"/>
                  <a:pt x="5444" y="356"/>
                </a:cubicBezTo>
                <a:cubicBezTo>
                  <a:pt x="5487" y="356"/>
                  <a:pt x="5487" y="356"/>
                  <a:pt x="5487" y="356"/>
                </a:cubicBezTo>
                <a:cubicBezTo>
                  <a:pt x="5531" y="356"/>
                  <a:pt x="5531" y="356"/>
                  <a:pt x="5531" y="356"/>
                </a:cubicBezTo>
                <a:cubicBezTo>
                  <a:pt x="5531" y="178"/>
                  <a:pt x="5531" y="178"/>
                  <a:pt x="5531" y="178"/>
                </a:cubicBezTo>
                <a:cubicBezTo>
                  <a:pt x="5531" y="0"/>
                  <a:pt x="5531" y="0"/>
                  <a:pt x="5531" y="0"/>
                </a:cubicBezTo>
                <a:cubicBezTo>
                  <a:pt x="5531" y="0"/>
                  <a:pt x="5531" y="0"/>
                  <a:pt x="5531" y="0"/>
                </a:cubicBezTo>
                <a:cubicBezTo>
                  <a:pt x="5444" y="0"/>
                  <a:pt x="5444" y="0"/>
                  <a:pt x="5444" y="0"/>
                </a:cubicBezTo>
                <a:close/>
                <a:moveTo>
                  <a:pt x="6288" y="356"/>
                </a:moveTo>
                <a:cubicBezTo>
                  <a:pt x="6375" y="356"/>
                  <a:pt x="6375" y="356"/>
                  <a:pt x="6375" y="356"/>
                </a:cubicBezTo>
                <a:cubicBezTo>
                  <a:pt x="6375" y="0"/>
                  <a:pt x="6375" y="0"/>
                  <a:pt x="6375" y="0"/>
                </a:cubicBezTo>
                <a:cubicBezTo>
                  <a:pt x="6288" y="0"/>
                  <a:pt x="6288" y="0"/>
                  <a:pt x="6288" y="0"/>
                </a:cubicBezTo>
                <a:lnTo>
                  <a:pt x="6288" y="356"/>
                </a:lnTo>
                <a:close/>
                <a:moveTo>
                  <a:pt x="5042" y="211"/>
                </a:moveTo>
                <a:cubicBezTo>
                  <a:pt x="4868" y="0"/>
                  <a:pt x="4868" y="0"/>
                  <a:pt x="4868" y="0"/>
                </a:cubicBezTo>
                <a:cubicBezTo>
                  <a:pt x="4798" y="0"/>
                  <a:pt x="4798" y="0"/>
                  <a:pt x="4798" y="0"/>
                </a:cubicBezTo>
                <a:cubicBezTo>
                  <a:pt x="4798" y="356"/>
                  <a:pt x="4798" y="356"/>
                  <a:pt x="4798" y="356"/>
                </a:cubicBezTo>
                <a:cubicBezTo>
                  <a:pt x="4868" y="356"/>
                  <a:pt x="4868" y="356"/>
                  <a:pt x="4868" y="356"/>
                </a:cubicBezTo>
                <a:cubicBezTo>
                  <a:pt x="4868" y="117"/>
                  <a:pt x="4868" y="117"/>
                  <a:pt x="4868" y="117"/>
                </a:cubicBezTo>
                <a:cubicBezTo>
                  <a:pt x="5029" y="313"/>
                  <a:pt x="5029" y="313"/>
                  <a:pt x="5029" y="313"/>
                </a:cubicBezTo>
                <a:cubicBezTo>
                  <a:pt x="5046" y="313"/>
                  <a:pt x="5046" y="313"/>
                  <a:pt x="5046" y="313"/>
                </a:cubicBezTo>
                <a:cubicBezTo>
                  <a:pt x="5205" y="111"/>
                  <a:pt x="5205" y="111"/>
                  <a:pt x="5205" y="111"/>
                </a:cubicBezTo>
                <a:cubicBezTo>
                  <a:pt x="5205" y="356"/>
                  <a:pt x="5205" y="356"/>
                  <a:pt x="5205" y="356"/>
                </a:cubicBezTo>
                <a:cubicBezTo>
                  <a:pt x="5286" y="356"/>
                  <a:pt x="5286" y="356"/>
                  <a:pt x="5286" y="356"/>
                </a:cubicBezTo>
                <a:cubicBezTo>
                  <a:pt x="5286" y="0"/>
                  <a:pt x="5286" y="0"/>
                  <a:pt x="5286" y="0"/>
                </a:cubicBezTo>
                <a:cubicBezTo>
                  <a:pt x="5216" y="0"/>
                  <a:pt x="5216" y="0"/>
                  <a:pt x="5216" y="0"/>
                </a:cubicBezTo>
                <a:lnTo>
                  <a:pt x="5042" y="211"/>
                </a:lnTo>
                <a:close/>
                <a:moveTo>
                  <a:pt x="3589" y="0"/>
                </a:moveTo>
                <a:cubicBezTo>
                  <a:pt x="3804" y="356"/>
                  <a:pt x="3804" y="356"/>
                  <a:pt x="3804" y="356"/>
                </a:cubicBezTo>
                <a:cubicBezTo>
                  <a:pt x="3706" y="356"/>
                  <a:pt x="3706" y="356"/>
                  <a:pt x="3706" y="356"/>
                </a:cubicBezTo>
                <a:cubicBezTo>
                  <a:pt x="3662" y="278"/>
                  <a:pt x="3662" y="278"/>
                  <a:pt x="3662" y="278"/>
                </a:cubicBezTo>
                <a:cubicBezTo>
                  <a:pt x="3426" y="278"/>
                  <a:pt x="3426" y="278"/>
                  <a:pt x="3426" y="278"/>
                </a:cubicBezTo>
                <a:cubicBezTo>
                  <a:pt x="3381" y="356"/>
                  <a:pt x="3381" y="356"/>
                  <a:pt x="3381" y="356"/>
                </a:cubicBezTo>
                <a:cubicBezTo>
                  <a:pt x="3294" y="356"/>
                  <a:pt x="3294" y="356"/>
                  <a:pt x="3294" y="356"/>
                </a:cubicBezTo>
                <a:cubicBezTo>
                  <a:pt x="3506" y="0"/>
                  <a:pt x="3506" y="0"/>
                  <a:pt x="3506" y="0"/>
                </a:cubicBezTo>
                <a:lnTo>
                  <a:pt x="3589" y="0"/>
                </a:lnTo>
                <a:close/>
                <a:moveTo>
                  <a:pt x="3626" y="213"/>
                </a:moveTo>
                <a:cubicBezTo>
                  <a:pt x="3543" y="65"/>
                  <a:pt x="3543" y="65"/>
                  <a:pt x="3543" y="65"/>
                </a:cubicBezTo>
                <a:cubicBezTo>
                  <a:pt x="3463" y="213"/>
                  <a:pt x="3463" y="213"/>
                  <a:pt x="3463" y="213"/>
                </a:cubicBezTo>
                <a:lnTo>
                  <a:pt x="3626" y="213"/>
                </a:lnTo>
                <a:close/>
                <a:moveTo>
                  <a:pt x="7676" y="202"/>
                </a:moveTo>
                <a:cubicBezTo>
                  <a:pt x="7848" y="202"/>
                  <a:pt x="7848" y="202"/>
                  <a:pt x="7848" y="202"/>
                </a:cubicBezTo>
                <a:cubicBezTo>
                  <a:pt x="7848" y="141"/>
                  <a:pt x="7848" y="141"/>
                  <a:pt x="7848" y="141"/>
                </a:cubicBezTo>
                <a:cubicBezTo>
                  <a:pt x="7676" y="141"/>
                  <a:pt x="7676" y="141"/>
                  <a:pt x="7676" y="141"/>
                </a:cubicBezTo>
                <a:cubicBezTo>
                  <a:pt x="7676" y="63"/>
                  <a:pt x="7676" y="63"/>
                  <a:pt x="7676" y="63"/>
                </a:cubicBezTo>
                <a:cubicBezTo>
                  <a:pt x="7971" y="63"/>
                  <a:pt x="7971" y="63"/>
                  <a:pt x="7971" y="63"/>
                </a:cubicBezTo>
                <a:cubicBezTo>
                  <a:pt x="7971" y="0"/>
                  <a:pt x="7971" y="0"/>
                  <a:pt x="7971" y="0"/>
                </a:cubicBezTo>
                <a:cubicBezTo>
                  <a:pt x="7589" y="0"/>
                  <a:pt x="7589" y="0"/>
                  <a:pt x="7589" y="0"/>
                </a:cubicBezTo>
                <a:cubicBezTo>
                  <a:pt x="7589" y="356"/>
                  <a:pt x="7589" y="356"/>
                  <a:pt x="7589" y="356"/>
                </a:cubicBezTo>
                <a:cubicBezTo>
                  <a:pt x="7975" y="356"/>
                  <a:pt x="7975" y="356"/>
                  <a:pt x="7975" y="356"/>
                </a:cubicBezTo>
                <a:cubicBezTo>
                  <a:pt x="7975" y="290"/>
                  <a:pt x="7975" y="290"/>
                  <a:pt x="7975" y="290"/>
                </a:cubicBezTo>
                <a:cubicBezTo>
                  <a:pt x="7676" y="290"/>
                  <a:pt x="7676" y="290"/>
                  <a:pt x="7676" y="290"/>
                </a:cubicBezTo>
                <a:lnTo>
                  <a:pt x="7676" y="202"/>
                </a:lnTo>
                <a:close/>
                <a:moveTo>
                  <a:pt x="4164" y="221"/>
                </a:moveTo>
                <a:cubicBezTo>
                  <a:pt x="4334" y="356"/>
                  <a:pt x="4334" y="356"/>
                  <a:pt x="4334" y="356"/>
                </a:cubicBezTo>
                <a:cubicBezTo>
                  <a:pt x="4209" y="356"/>
                  <a:pt x="4209" y="356"/>
                  <a:pt x="4209" y="356"/>
                </a:cubicBezTo>
                <a:cubicBezTo>
                  <a:pt x="4060" y="221"/>
                  <a:pt x="4060" y="221"/>
                  <a:pt x="4060" y="221"/>
                </a:cubicBezTo>
                <a:cubicBezTo>
                  <a:pt x="3978" y="221"/>
                  <a:pt x="3978" y="221"/>
                  <a:pt x="3978" y="221"/>
                </a:cubicBezTo>
                <a:cubicBezTo>
                  <a:pt x="3978" y="356"/>
                  <a:pt x="3978" y="356"/>
                  <a:pt x="3978" y="356"/>
                </a:cubicBezTo>
                <a:cubicBezTo>
                  <a:pt x="3892" y="356"/>
                  <a:pt x="3892" y="356"/>
                  <a:pt x="3892" y="356"/>
                </a:cubicBezTo>
                <a:cubicBezTo>
                  <a:pt x="3892" y="0"/>
                  <a:pt x="3892" y="0"/>
                  <a:pt x="3892" y="0"/>
                </a:cubicBezTo>
                <a:cubicBezTo>
                  <a:pt x="4213" y="0"/>
                  <a:pt x="4213" y="0"/>
                  <a:pt x="4213" y="0"/>
                </a:cubicBezTo>
                <a:cubicBezTo>
                  <a:pt x="4270" y="0"/>
                  <a:pt x="4296" y="19"/>
                  <a:pt x="4296" y="69"/>
                </a:cubicBezTo>
                <a:cubicBezTo>
                  <a:pt x="4296" y="153"/>
                  <a:pt x="4296" y="153"/>
                  <a:pt x="4296" y="153"/>
                </a:cubicBezTo>
                <a:cubicBezTo>
                  <a:pt x="4296" y="202"/>
                  <a:pt x="4270" y="221"/>
                  <a:pt x="4213" y="221"/>
                </a:cubicBezTo>
                <a:lnTo>
                  <a:pt x="4164" y="221"/>
                </a:lnTo>
                <a:close/>
                <a:moveTo>
                  <a:pt x="4176" y="160"/>
                </a:moveTo>
                <a:cubicBezTo>
                  <a:pt x="4202" y="160"/>
                  <a:pt x="4216" y="155"/>
                  <a:pt x="4216" y="131"/>
                </a:cubicBezTo>
                <a:cubicBezTo>
                  <a:pt x="4216" y="90"/>
                  <a:pt x="4216" y="90"/>
                  <a:pt x="4216" y="90"/>
                </a:cubicBezTo>
                <a:cubicBezTo>
                  <a:pt x="4216" y="67"/>
                  <a:pt x="4202" y="61"/>
                  <a:pt x="4176" y="61"/>
                </a:cubicBezTo>
                <a:cubicBezTo>
                  <a:pt x="3978" y="61"/>
                  <a:pt x="3978" y="61"/>
                  <a:pt x="3978" y="61"/>
                </a:cubicBezTo>
                <a:cubicBezTo>
                  <a:pt x="3978" y="160"/>
                  <a:pt x="3978" y="160"/>
                  <a:pt x="3978" y="160"/>
                </a:cubicBezTo>
                <a:lnTo>
                  <a:pt x="4176" y="160"/>
                </a:lnTo>
                <a:close/>
                <a:moveTo>
                  <a:pt x="3015" y="0"/>
                </a:moveTo>
                <a:cubicBezTo>
                  <a:pt x="3230" y="356"/>
                  <a:pt x="3230" y="356"/>
                  <a:pt x="3230" y="356"/>
                </a:cubicBezTo>
                <a:cubicBezTo>
                  <a:pt x="3132" y="356"/>
                  <a:pt x="3132" y="356"/>
                  <a:pt x="3132" y="356"/>
                </a:cubicBezTo>
                <a:cubicBezTo>
                  <a:pt x="3088" y="278"/>
                  <a:pt x="3088" y="278"/>
                  <a:pt x="3088" y="278"/>
                </a:cubicBezTo>
                <a:cubicBezTo>
                  <a:pt x="2852" y="278"/>
                  <a:pt x="2852" y="278"/>
                  <a:pt x="2852" y="278"/>
                </a:cubicBezTo>
                <a:cubicBezTo>
                  <a:pt x="2807" y="356"/>
                  <a:pt x="2807" y="356"/>
                  <a:pt x="2807" y="356"/>
                </a:cubicBezTo>
                <a:cubicBezTo>
                  <a:pt x="2721" y="356"/>
                  <a:pt x="2721" y="356"/>
                  <a:pt x="2721" y="356"/>
                </a:cubicBezTo>
                <a:cubicBezTo>
                  <a:pt x="2932" y="0"/>
                  <a:pt x="2932" y="0"/>
                  <a:pt x="2932" y="0"/>
                </a:cubicBezTo>
                <a:lnTo>
                  <a:pt x="3015" y="0"/>
                </a:lnTo>
                <a:close/>
                <a:moveTo>
                  <a:pt x="3052" y="213"/>
                </a:moveTo>
                <a:cubicBezTo>
                  <a:pt x="2969" y="65"/>
                  <a:pt x="2969" y="65"/>
                  <a:pt x="2969" y="65"/>
                </a:cubicBezTo>
                <a:cubicBezTo>
                  <a:pt x="2889" y="213"/>
                  <a:pt x="2889" y="213"/>
                  <a:pt x="2889" y="213"/>
                </a:cubicBezTo>
                <a:lnTo>
                  <a:pt x="3052" y="213"/>
                </a:lnTo>
                <a:close/>
                <a:moveTo>
                  <a:pt x="7046" y="64"/>
                </a:moveTo>
                <a:cubicBezTo>
                  <a:pt x="7217" y="64"/>
                  <a:pt x="7217" y="64"/>
                  <a:pt x="7217" y="64"/>
                </a:cubicBezTo>
                <a:cubicBezTo>
                  <a:pt x="7217" y="356"/>
                  <a:pt x="7217" y="356"/>
                  <a:pt x="7217" y="356"/>
                </a:cubicBezTo>
                <a:cubicBezTo>
                  <a:pt x="7304" y="356"/>
                  <a:pt x="7304" y="356"/>
                  <a:pt x="7304" y="356"/>
                </a:cubicBezTo>
                <a:cubicBezTo>
                  <a:pt x="7304" y="64"/>
                  <a:pt x="7304" y="64"/>
                  <a:pt x="7304" y="64"/>
                </a:cubicBezTo>
                <a:cubicBezTo>
                  <a:pt x="7477" y="64"/>
                  <a:pt x="7477" y="64"/>
                  <a:pt x="7477" y="64"/>
                </a:cubicBezTo>
                <a:cubicBezTo>
                  <a:pt x="7477" y="0"/>
                  <a:pt x="7477" y="0"/>
                  <a:pt x="7477" y="0"/>
                </a:cubicBezTo>
                <a:cubicBezTo>
                  <a:pt x="7046" y="0"/>
                  <a:pt x="7046" y="0"/>
                  <a:pt x="7046" y="0"/>
                </a:cubicBezTo>
                <a:lnTo>
                  <a:pt x="704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1" name="Rectangle 8"/>
          <p:cNvSpPr>
            <a:spLocks noSelect="1" noChangeArrowheads="1"/>
          </p:cNvSpPr>
          <p:nvPr userDrawn="1"/>
        </p:nvSpPr>
        <p:spPr bwMode="gray">
          <a:xfrm>
            <a:off x="0" y="3429000"/>
            <a:ext cx="12189600" cy="3429000"/>
          </a:xfrm>
          <a:prstGeom prst="rect">
            <a:avLst/>
          </a:prstGeom>
          <a:solidFill>
            <a:schemeClr val="accent4"/>
          </a:solidFill>
          <a:ln>
            <a:noFill/>
          </a:ln>
          <a:effectLst/>
        </p:spPr>
        <p:txBody>
          <a:bodyPr wrap="none" anchor="ctr"/>
          <a:lstStyle/>
          <a:p>
            <a:pPr eaLnBrk="1" hangingPunct="1">
              <a:defRPr/>
            </a:pPr>
            <a:endParaRPr lang="nl-NL" sz="2142" dirty="0">
              <a:latin typeface="Arial Black" charset="0"/>
            </a:endParaRPr>
          </a:p>
        </p:txBody>
      </p:sp>
      <p:sp>
        <p:nvSpPr>
          <p:cNvPr id="2" name="***Titel 1"/>
          <p:cNvSpPr>
            <a:spLocks noGrp="1" noSelect="1"/>
          </p:cNvSpPr>
          <p:nvPr>
            <p:ph type="ctrTitle" hasCustomPrompt="1"/>
          </p:nvPr>
        </p:nvSpPr>
        <p:spPr bwMode="gray">
          <a:xfrm>
            <a:off x="1077861" y="3913999"/>
            <a:ext cx="10040516" cy="685952"/>
          </a:xfrm>
        </p:spPr>
        <p:txBody>
          <a:bodyPr anchor="t" anchorCtr="0"/>
          <a:lstStyle>
            <a:lvl1pPr algn="l">
              <a:defRPr sz="3600">
                <a:solidFill>
                  <a:srgbClr val="FFFFFF"/>
                </a:solidFill>
              </a:defRPr>
            </a:lvl1pPr>
          </a:lstStyle>
          <a:p>
            <a:r>
              <a:rPr lang="nl-NL" noProof="1"/>
              <a:t>[Titel]</a:t>
            </a:r>
          </a:p>
        </p:txBody>
      </p:sp>
      <p:sp>
        <p:nvSpPr>
          <p:cNvPr id="3" name="Ondertitel 2"/>
          <p:cNvSpPr>
            <a:spLocks noGrp="1" noSelect="1"/>
          </p:cNvSpPr>
          <p:nvPr>
            <p:ph type="subTitle" idx="1" hasCustomPrompt="1"/>
          </p:nvPr>
        </p:nvSpPr>
        <p:spPr bwMode="gray">
          <a:xfrm>
            <a:off x="1089134" y="4863460"/>
            <a:ext cx="10029243" cy="546598"/>
          </a:xfrm>
        </p:spPr>
        <p:txBody>
          <a:bodyPr/>
          <a:lstStyle>
            <a:lvl1pPr marL="0" indent="0" algn="l">
              <a:buNone/>
              <a:defRPr>
                <a:solidFill>
                  <a:srgbClr val="FFFFFF"/>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nl-NL" noProof="1"/>
              <a:t>[Subtitel]</a:t>
            </a:r>
          </a:p>
        </p:txBody>
      </p:sp>
      <p:sp>
        <p:nvSpPr>
          <p:cNvPr id="4" name="Tijdelijke aanduiding voor datum 3"/>
          <p:cNvSpPr>
            <a:spLocks noGrp="1" noSelect="1"/>
          </p:cNvSpPr>
          <p:nvPr>
            <p:ph type="dt" sz="half" idx="10"/>
          </p:nvPr>
        </p:nvSpPr>
        <p:spPr bwMode="gray"/>
        <p:txBody>
          <a:bodyPr/>
          <a:lstStyle/>
          <a:p>
            <a:fld id="{7C806373-EEC1-40A6-88B0-0378453CBB9D}" type="datetime4">
              <a:rPr lang="nl-NL" noProof="1" smtClean="0"/>
              <a:t>22 september 2022</a:t>
            </a:fld>
            <a:endParaRPr lang="nl-NL" noProof="1"/>
          </a:p>
        </p:txBody>
      </p:sp>
      <p:sp>
        <p:nvSpPr>
          <p:cNvPr id="5" name="Tijdelijke aanduiding voor voettekst 4"/>
          <p:cNvSpPr>
            <a:spLocks noGrp="1" noSelect="1"/>
          </p:cNvSpPr>
          <p:nvPr>
            <p:ph type="ftr" sz="quarter" idx="11"/>
          </p:nvPr>
        </p:nvSpPr>
        <p:spPr>
          <a:xfrm>
            <a:off x="1080000" y="2217600"/>
            <a:ext cx="10116000" cy="307765"/>
          </a:xfrm>
        </p:spPr>
        <p:txBody>
          <a:bodyPr/>
          <a:lstStyle/>
          <a:p>
            <a:r>
              <a:rPr lang="nl-NL" noProof="1"/>
              <a:t>[Plaats hier de aanduiding van het OM onderdeel]</a:t>
            </a:r>
          </a:p>
        </p:txBody>
      </p:sp>
      <p:sp>
        <p:nvSpPr>
          <p:cNvPr id="12" name="Rechthoek 11"/>
          <p:cNvSpPr>
            <a:spLocks noSelect="1"/>
          </p:cNvSpPr>
          <p:nvPr userDrawn="1"/>
        </p:nvSpPr>
        <p:spPr>
          <a:xfrm>
            <a:off x="-1285778" y="189362"/>
            <a:ext cx="1170156" cy="2520336"/>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nl-NL" sz="1000" dirty="0">
                <a:solidFill>
                  <a:schemeClr val="tx1"/>
                </a:solidFill>
              </a:rPr>
              <a:t>Via Invoegen | Koptekst en voettekst kan de datum, paginanummer en aanduiding</a:t>
            </a:r>
            <a:r>
              <a:rPr lang="nl-NL" sz="1000" baseline="0" dirty="0">
                <a:solidFill>
                  <a:schemeClr val="tx1"/>
                </a:solidFill>
              </a:rPr>
              <a:t> van het OM onderdeel geplaatst worden.</a:t>
            </a:r>
          </a:p>
          <a:p>
            <a:pPr algn="l"/>
            <a:endParaRPr lang="nl-NL" sz="1000" baseline="0" dirty="0">
              <a:solidFill>
                <a:schemeClr val="tx1"/>
              </a:solidFill>
            </a:endParaRPr>
          </a:p>
          <a:p>
            <a:pPr algn="l"/>
            <a:r>
              <a:rPr lang="nl-NL" sz="1000" baseline="0" dirty="0">
                <a:solidFill>
                  <a:schemeClr val="tx1"/>
                </a:solidFill>
              </a:rPr>
              <a:t>Dit instructie vak is niet te zien tijdens de presentatie.</a:t>
            </a:r>
            <a:endParaRPr lang="nl-NL" sz="1000" dirty="0">
              <a:solidFill>
                <a:schemeClr val="tx1"/>
              </a:solidFill>
            </a:endParaRPr>
          </a:p>
        </p:txBody>
      </p:sp>
      <p:sp>
        <p:nvSpPr>
          <p:cNvPr id="13" name="***Spreker"/>
          <p:cNvSpPr>
            <a:spLocks noGrp="1" noSelect="1"/>
          </p:cNvSpPr>
          <p:nvPr>
            <p:ph type="body" sz="quarter" idx="12" hasCustomPrompt="1"/>
          </p:nvPr>
        </p:nvSpPr>
        <p:spPr>
          <a:xfrm>
            <a:off x="1080000" y="720000"/>
            <a:ext cx="10080000" cy="457200"/>
          </a:xfrm>
        </p:spPr>
        <p:txBody>
          <a:bodyPr/>
          <a:lstStyle>
            <a:lvl1pPr marL="0" indent="0">
              <a:spcBef>
                <a:spcPts val="0"/>
              </a:spcBef>
              <a:spcAft>
                <a:spcPts val="0"/>
              </a:spcAft>
              <a:buNone/>
              <a:defRPr b="1" i="0"/>
            </a:lvl1pPr>
            <a:lvl2pPr marL="0" indent="0">
              <a:spcBef>
                <a:spcPts val="0"/>
              </a:spcBef>
              <a:spcAft>
                <a:spcPts val="0"/>
              </a:spcAft>
              <a:buNone/>
              <a:defRPr b="1" i="0"/>
            </a:lvl2pPr>
            <a:lvl3pPr marL="0" indent="0">
              <a:spcBef>
                <a:spcPts val="0"/>
              </a:spcBef>
              <a:spcAft>
                <a:spcPts val="0"/>
              </a:spcAft>
              <a:buNone/>
              <a:defRPr b="1" i="0"/>
            </a:lvl3pPr>
            <a:lvl4pPr marL="0" indent="0">
              <a:spcBef>
                <a:spcPts val="0"/>
              </a:spcBef>
              <a:spcAft>
                <a:spcPts val="0"/>
              </a:spcAft>
              <a:buFont typeface="Arial" panose="020B0604020202020204" pitchFamily="34" charset="0"/>
              <a:buNone/>
              <a:defRPr b="1" i="0"/>
            </a:lvl4pPr>
            <a:lvl5pPr marL="0" indent="0">
              <a:spcBef>
                <a:spcPts val="0"/>
              </a:spcBef>
              <a:spcAft>
                <a:spcPts val="0"/>
              </a:spcAft>
              <a:buFont typeface="Arial" panose="020B0604020202020204" pitchFamily="34" charset="0"/>
              <a:buNone/>
              <a:defRPr b="1" i="0"/>
            </a:lvl5pPr>
            <a:lvl6pPr marL="0" indent="0">
              <a:spcBef>
                <a:spcPts val="0"/>
              </a:spcBef>
              <a:spcAft>
                <a:spcPts val="0"/>
              </a:spcAft>
              <a:buFont typeface="Arial" panose="020B0604020202020204" pitchFamily="34" charset="0"/>
              <a:buNone/>
              <a:defRPr b="1" i="0"/>
            </a:lvl6pPr>
            <a:lvl7pPr marL="0" indent="0">
              <a:spcBef>
                <a:spcPts val="0"/>
              </a:spcBef>
              <a:spcAft>
                <a:spcPts val="0"/>
              </a:spcAft>
              <a:buFont typeface="Arial" panose="020B0604020202020204" pitchFamily="34" charset="0"/>
              <a:buNone/>
              <a:defRPr b="1" i="0"/>
            </a:lvl7pPr>
            <a:lvl8pPr marL="0" indent="0">
              <a:spcBef>
                <a:spcPts val="0"/>
              </a:spcBef>
              <a:spcAft>
                <a:spcPts val="0"/>
              </a:spcAft>
              <a:buFont typeface="Arial" panose="020B0604020202020204" pitchFamily="34" charset="0"/>
              <a:buNone/>
              <a:defRPr b="1" i="0"/>
            </a:lvl8pPr>
            <a:lvl9pPr marL="0" indent="0">
              <a:spcBef>
                <a:spcPts val="0"/>
              </a:spcBef>
              <a:spcAft>
                <a:spcPts val="0"/>
              </a:spcAft>
              <a:buFont typeface="Arial" panose="020B0604020202020204" pitchFamily="34" charset="0"/>
              <a:buNone/>
              <a:defRPr b="1" i="0"/>
            </a:lvl9pPr>
          </a:lstStyle>
          <a:p>
            <a:pPr lvl="0"/>
            <a:r>
              <a:rPr lang="nl-NL" dirty="0"/>
              <a:t>[Naam spreker]</a:t>
            </a:r>
          </a:p>
          <a:p>
            <a:pPr lvl="0"/>
            <a:endParaRPr lang="nl-NL" dirty="0"/>
          </a:p>
        </p:txBody>
      </p:sp>
    </p:spTree>
    <p:extLst>
      <p:ext uri="{BB962C8B-B14F-4D97-AF65-F5344CB8AC3E}">
        <p14:creationId xmlns:p14="http://schemas.microsoft.com/office/powerpoint/2010/main" val="41008967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en 2 kaders">
    <p:spTree>
      <p:nvGrpSpPr>
        <p:cNvPr id="1" name=""/>
        <p:cNvGrpSpPr/>
        <p:nvPr/>
      </p:nvGrpSpPr>
      <p:grpSpPr>
        <a:xfrm>
          <a:off x="0" y="0"/>
          <a:ext cx="0" cy="0"/>
          <a:chOff x="0" y="0"/>
          <a:chExt cx="0" cy="0"/>
        </a:xfrm>
      </p:grpSpPr>
      <p:sp>
        <p:nvSpPr>
          <p:cNvPr id="9" name="Tijdelijke aanduiding voor inhoud 8"/>
          <p:cNvSpPr>
            <a:spLocks noGrp="1" noSelect="1"/>
          </p:cNvSpPr>
          <p:nvPr>
            <p:ph sz="quarter" idx="13" hasCustomPrompt="1"/>
          </p:nvPr>
        </p:nvSpPr>
        <p:spPr bwMode="gray">
          <a:xfrm>
            <a:off x="1080000" y="1893600"/>
            <a:ext cx="4842000" cy="3888000"/>
          </a:xfrm>
        </p:spPr>
        <p:txBody>
          <a:bodyPr/>
          <a:lstStyle>
            <a:lvl1pPr>
              <a:defRPr/>
            </a:lvl1pPr>
          </a:lstStyle>
          <a:p>
            <a:pPr lvl="0"/>
            <a:r>
              <a:rPr lang="nl-NL" noProof="1"/>
              <a:t>[Typ tekst of klik op een pictogram om een object in te voegen]</a:t>
            </a:r>
          </a:p>
        </p:txBody>
      </p:sp>
      <p:sp>
        <p:nvSpPr>
          <p:cNvPr id="8" name="Titel 7"/>
          <p:cNvSpPr>
            <a:spLocks noGrp="1" noSelect="1"/>
          </p:cNvSpPr>
          <p:nvPr>
            <p:ph type="title" hasCustomPrompt="1"/>
          </p:nvPr>
        </p:nvSpPr>
        <p:spPr bwMode="gray">
          <a:xfrm>
            <a:off x="1081183" y="572872"/>
            <a:ext cx="10080000" cy="868556"/>
          </a:xfrm>
        </p:spPr>
        <p:txBody>
          <a:bodyPr/>
          <a:lstStyle/>
          <a:p>
            <a:r>
              <a:rPr lang="nl-NL" noProof="1"/>
              <a:t>[Titel]</a:t>
            </a:r>
            <a:endParaRPr lang="nl-NL" dirty="0"/>
          </a:p>
        </p:txBody>
      </p:sp>
      <p:sp>
        <p:nvSpPr>
          <p:cNvPr id="27" name="Tijdelijke aanduiding voor inhoud 8"/>
          <p:cNvSpPr>
            <a:spLocks noGrp="1" noSelect="1"/>
          </p:cNvSpPr>
          <p:nvPr>
            <p:ph sz="quarter" idx="18" hasCustomPrompt="1"/>
          </p:nvPr>
        </p:nvSpPr>
        <p:spPr bwMode="gray">
          <a:xfrm>
            <a:off x="6318037" y="1893600"/>
            <a:ext cx="4843146" cy="3888000"/>
          </a:xfrm>
        </p:spPr>
        <p:txBody>
          <a:bodyPr/>
          <a:lstStyle>
            <a:lvl1pPr>
              <a:defRPr/>
            </a:lvl1pPr>
          </a:lstStyle>
          <a:p>
            <a:pPr lvl="0"/>
            <a:r>
              <a:rPr lang="nl-NL" noProof="1"/>
              <a:t>[Typ tekst of klik op een pictogram om een object in te voegen]</a:t>
            </a:r>
          </a:p>
        </p:txBody>
      </p:sp>
      <p:sp>
        <p:nvSpPr>
          <p:cNvPr id="2" name="Tijdelijke aanduiding voor datum 1"/>
          <p:cNvSpPr>
            <a:spLocks noGrp="1" noSelect="1"/>
          </p:cNvSpPr>
          <p:nvPr>
            <p:ph type="dt" sz="half" idx="19"/>
          </p:nvPr>
        </p:nvSpPr>
        <p:spPr bwMode="gray"/>
        <p:txBody>
          <a:bodyPr/>
          <a:lstStyle/>
          <a:p>
            <a:fld id="{A91D497D-9F5E-4F7D-99C4-2B37BF08694F}" type="datetime4">
              <a:rPr lang="nl-NL" noProof="1" smtClean="0"/>
              <a:t>22 september 2022</a:t>
            </a:fld>
            <a:endParaRPr lang="nl-NL" noProof="1"/>
          </a:p>
        </p:txBody>
      </p:sp>
      <p:sp>
        <p:nvSpPr>
          <p:cNvPr id="3" name="Tijdelijke aanduiding voor voettekst 2"/>
          <p:cNvSpPr>
            <a:spLocks noGrp="1" noSelect="1"/>
          </p:cNvSpPr>
          <p:nvPr>
            <p:ph type="ftr" sz="quarter" idx="20"/>
          </p:nvPr>
        </p:nvSpPr>
        <p:spPr bwMode="gray"/>
        <p:txBody>
          <a:bodyPr/>
          <a:lstStyle/>
          <a:p>
            <a:r>
              <a:rPr lang="nl-NL" noProof="1"/>
              <a:t>[Plaats hier de aanduiding van het OM onderdeel]</a:t>
            </a:r>
          </a:p>
        </p:txBody>
      </p:sp>
      <p:sp>
        <p:nvSpPr>
          <p:cNvPr id="4" name="Tijdelijke aanduiding voor dianummer 3"/>
          <p:cNvSpPr>
            <a:spLocks noGrp="1" noSelect="1"/>
          </p:cNvSpPr>
          <p:nvPr>
            <p:ph type="sldNum" sz="quarter" idx="21"/>
          </p:nvPr>
        </p:nvSpPr>
        <p:spPr bwMode="gray"/>
        <p:txBody>
          <a:bodyPr/>
          <a:lstStyle/>
          <a:p>
            <a:r>
              <a:rPr lang="nl-NL" noProof="1"/>
              <a:t>pagina </a:t>
            </a:r>
            <a:fld id="{1336C48C-F87C-4E4B-81EF-5027B17D1F61}" type="slidenum">
              <a:rPr lang="nl-NL" noProof="1" smtClean="0"/>
              <a:pPr/>
              <a:t>‹nr.›</a:t>
            </a:fld>
            <a:endParaRPr lang="nl-NL" noProof="1"/>
          </a:p>
        </p:txBody>
      </p:sp>
    </p:spTree>
    <p:extLst>
      <p:ext uri="{BB962C8B-B14F-4D97-AF65-F5344CB8AC3E}">
        <p14:creationId xmlns:p14="http://schemas.microsoft.com/office/powerpoint/2010/main" val="41359905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afbeelding en bijschriften">
    <p:spTree>
      <p:nvGrpSpPr>
        <p:cNvPr id="1" name=""/>
        <p:cNvGrpSpPr/>
        <p:nvPr/>
      </p:nvGrpSpPr>
      <p:grpSpPr>
        <a:xfrm>
          <a:off x="0" y="0"/>
          <a:ext cx="0" cy="0"/>
          <a:chOff x="0" y="0"/>
          <a:chExt cx="0" cy="0"/>
        </a:xfrm>
      </p:grpSpPr>
      <p:sp>
        <p:nvSpPr>
          <p:cNvPr id="8" name="Titel 7"/>
          <p:cNvSpPr>
            <a:spLocks noGrp="1" noSelect="1"/>
          </p:cNvSpPr>
          <p:nvPr>
            <p:ph type="title" hasCustomPrompt="1"/>
          </p:nvPr>
        </p:nvSpPr>
        <p:spPr bwMode="gray"/>
        <p:txBody>
          <a:bodyPr/>
          <a:lstStyle/>
          <a:p>
            <a:r>
              <a:rPr lang="nl-NL" noProof="1"/>
              <a:t>[Titel]</a:t>
            </a:r>
            <a:endParaRPr lang="nl-NL" dirty="0"/>
          </a:p>
        </p:txBody>
      </p:sp>
      <p:sp>
        <p:nvSpPr>
          <p:cNvPr id="27" name="Tijdelijke aanduiding voor inhoud 8"/>
          <p:cNvSpPr>
            <a:spLocks noGrp="1" noSelect="1"/>
          </p:cNvSpPr>
          <p:nvPr>
            <p:ph sz="quarter" idx="18" hasCustomPrompt="1"/>
          </p:nvPr>
        </p:nvSpPr>
        <p:spPr bwMode="gray">
          <a:xfrm>
            <a:off x="7715422" y="5260514"/>
            <a:ext cx="3402954" cy="537166"/>
          </a:xfrm>
        </p:spPr>
        <p:txBody>
          <a:bodyPr/>
          <a:lstStyle>
            <a:lvl1pPr marL="36000" indent="0" algn="l">
              <a:buNone/>
              <a:defRPr sz="1100"/>
            </a:lvl1pPr>
            <a:lvl2pPr marL="36000" indent="0" algn="l">
              <a:buNone/>
              <a:defRPr sz="1100" b="0"/>
            </a:lvl2pPr>
            <a:lvl3pPr marL="36000" indent="0" algn="l">
              <a:buNone/>
              <a:defRPr sz="1100" b="0"/>
            </a:lvl3pPr>
            <a:lvl4pPr marL="36000" indent="0" algn="l">
              <a:buFont typeface="Arial" panose="020B0604020202020204" pitchFamily="34" charset="0"/>
              <a:buNone/>
              <a:defRPr sz="1100" b="0"/>
            </a:lvl4pPr>
            <a:lvl5pPr marL="36000" indent="0" algn="l">
              <a:buFont typeface="Arial" panose="020B0604020202020204" pitchFamily="34" charset="0"/>
              <a:buNone/>
              <a:defRPr sz="1100" b="0"/>
            </a:lvl5pPr>
            <a:lvl6pPr marL="36000" indent="0" algn="l">
              <a:buFont typeface="Arial" panose="020B0604020202020204" pitchFamily="34" charset="0"/>
              <a:buNone/>
              <a:defRPr sz="1100" b="0"/>
            </a:lvl6pPr>
            <a:lvl7pPr marL="36000" indent="0" algn="l">
              <a:buFont typeface="Arial" panose="020B0604020202020204" pitchFamily="34" charset="0"/>
              <a:buNone/>
              <a:defRPr sz="1100" b="0"/>
            </a:lvl7pPr>
            <a:lvl8pPr marL="36000" indent="0" algn="l">
              <a:buFont typeface="Arial" panose="020B0604020202020204" pitchFamily="34" charset="0"/>
              <a:buNone/>
              <a:defRPr sz="1100" b="0"/>
            </a:lvl8pPr>
            <a:lvl9pPr marL="36000" indent="0" algn="l">
              <a:buFont typeface="Arial" panose="020B0604020202020204" pitchFamily="34" charset="0"/>
              <a:buNone/>
              <a:defRPr sz="1100" b="0"/>
            </a:lvl9pPr>
          </a:lstStyle>
          <a:p>
            <a:pPr lvl="0"/>
            <a:r>
              <a:rPr lang="nl-NL" noProof="1"/>
              <a:t>[Tekst]</a:t>
            </a:r>
          </a:p>
        </p:txBody>
      </p:sp>
      <p:sp>
        <p:nvSpPr>
          <p:cNvPr id="3" name="Tijdelijke aanduiding voor afbeelding 2"/>
          <p:cNvSpPr>
            <a:spLocks noGrp="1" noSelect="1"/>
          </p:cNvSpPr>
          <p:nvPr>
            <p:ph type="pic" sz="quarter" idx="22" hasCustomPrompt="1"/>
          </p:nvPr>
        </p:nvSpPr>
        <p:spPr bwMode="gray">
          <a:xfrm>
            <a:off x="1080000" y="1709999"/>
            <a:ext cx="6370637" cy="4248000"/>
          </a:xfrm>
          <a:solidFill>
            <a:schemeClr val="bg1">
              <a:lumMod val="75000"/>
            </a:schemeClr>
          </a:solidFill>
        </p:spPr>
        <p:txBody>
          <a:bodyPr/>
          <a:lstStyle>
            <a:lvl1pPr marL="0" indent="0">
              <a:buFontTx/>
              <a:buNone/>
              <a:defRPr/>
            </a:lvl1pPr>
          </a:lstStyle>
          <a:p>
            <a:r>
              <a:rPr lang="nl-NL" dirty="0"/>
              <a:t>[Klik op het pictogram om een afbeelding in te voegen]</a:t>
            </a:r>
          </a:p>
        </p:txBody>
      </p:sp>
      <p:sp>
        <p:nvSpPr>
          <p:cNvPr id="2" name="Tijdelijke aanduiding voor datum 1"/>
          <p:cNvSpPr>
            <a:spLocks noGrp="1" noSelect="1"/>
          </p:cNvSpPr>
          <p:nvPr>
            <p:ph type="dt" sz="half" idx="23"/>
          </p:nvPr>
        </p:nvSpPr>
        <p:spPr bwMode="gray"/>
        <p:txBody>
          <a:bodyPr/>
          <a:lstStyle/>
          <a:p>
            <a:fld id="{64DA811B-765D-4408-9495-E92A0CD192C6}" type="datetime4">
              <a:rPr lang="nl-NL" noProof="1" smtClean="0"/>
              <a:t>22 september 2022</a:t>
            </a:fld>
            <a:endParaRPr lang="nl-NL" noProof="1"/>
          </a:p>
        </p:txBody>
      </p:sp>
      <p:sp>
        <p:nvSpPr>
          <p:cNvPr id="4" name="Tijdelijke aanduiding voor voettekst 3"/>
          <p:cNvSpPr>
            <a:spLocks noGrp="1" noSelect="1"/>
          </p:cNvSpPr>
          <p:nvPr>
            <p:ph type="ftr" sz="quarter" idx="24"/>
          </p:nvPr>
        </p:nvSpPr>
        <p:spPr bwMode="gray"/>
        <p:txBody>
          <a:bodyPr/>
          <a:lstStyle/>
          <a:p>
            <a:r>
              <a:rPr lang="nl-NL" noProof="1"/>
              <a:t>[Plaats hier de aanduiding van het OM onderdeel]</a:t>
            </a:r>
          </a:p>
        </p:txBody>
      </p:sp>
      <p:sp>
        <p:nvSpPr>
          <p:cNvPr id="5" name="Tijdelijke aanduiding voor dianummer 4"/>
          <p:cNvSpPr>
            <a:spLocks noGrp="1" noSelect="1"/>
          </p:cNvSpPr>
          <p:nvPr>
            <p:ph type="sldNum" sz="quarter" idx="25"/>
          </p:nvPr>
        </p:nvSpPr>
        <p:spPr bwMode="gray"/>
        <p:txBody>
          <a:bodyPr/>
          <a:lstStyle/>
          <a:p>
            <a:r>
              <a:rPr lang="nl-NL" noProof="1"/>
              <a:t>pagina </a:t>
            </a:r>
            <a:fld id="{1336C48C-F87C-4E4B-81EF-5027B17D1F61}" type="slidenum">
              <a:rPr lang="nl-NL" noProof="1" smtClean="0"/>
              <a:pPr/>
              <a:t>‹nr.›</a:t>
            </a:fld>
            <a:endParaRPr lang="nl-NL" noProof="1"/>
          </a:p>
        </p:txBody>
      </p:sp>
    </p:spTree>
    <p:extLst>
      <p:ext uri="{BB962C8B-B14F-4D97-AF65-F5344CB8AC3E}">
        <p14:creationId xmlns:p14="http://schemas.microsoft.com/office/powerpoint/2010/main" val="2245001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p>
            <a:r>
              <a:rPr lang="nl-NL" noProof="1"/>
              <a:t>[Titel]</a:t>
            </a:r>
          </a:p>
        </p:txBody>
      </p:sp>
      <p:sp>
        <p:nvSpPr>
          <p:cNvPr id="3" name="Tijdelijke aanduiding voor datum 2"/>
          <p:cNvSpPr>
            <a:spLocks noGrp="1" noSelect="1"/>
          </p:cNvSpPr>
          <p:nvPr>
            <p:ph type="dt" sz="half" idx="10"/>
          </p:nvPr>
        </p:nvSpPr>
        <p:spPr bwMode="gray"/>
        <p:txBody>
          <a:bodyPr/>
          <a:lstStyle/>
          <a:p>
            <a:fld id="{027BDABA-D4B9-471C-BB5F-EB59741878BA}" type="datetime4">
              <a:rPr lang="nl-NL" noProof="1" smtClean="0"/>
              <a:t>22 september 2022</a:t>
            </a:fld>
            <a:endParaRPr lang="nl-NL" noProof="1"/>
          </a:p>
        </p:txBody>
      </p:sp>
      <p:sp>
        <p:nvSpPr>
          <p:cNvPr id="4" name="Tijdelijke aanduiding voor voettekst 3"/>
          <p:cNvSpPr>
            <a:spLocks noGrp="1" noSelect="1"/>
          </p:cNvSpPr>
          <p:nvPr>
            <p:ph type="ftr" sz="quarter" idx="11"/>
          </p:nvPr>
        </p:nvSpPr>
        <p:spPr bwMode="gray"/>
        <p:txBody>
          <a:bodyPr/>
          <a:lstStyle/>
          <a:p>
            <a:r>
              <a:rPr lang="nl-NL" noProof="1"/>
              <a:t>[Plaats hier de aanduiding van het OM onderdeel]</a:t>
            </a:r>
          </a:p>
        </p:txBody>
      </p:sp>
      <p:sp>
        <p:nvSpPr>
          <p:cNvPr id="5" name="Tijdelijke aanduiding voor dianummer 4"/>
          <p:cNvSpPr>
            <a:spLocks noGrp="1" noSelect="1"/>
          </p:cNvSpPr>
          <p:nvPr>
            <p:ph type="sldNum" sz="quarter" idx="12"/>
          </p:nvPr>
        </p:nvSpPr>
        <p:spPr bwMode="gray"/>
        <p:txBody>
          <a:bodyPr/>
          <a:lstStyle/>
          <a:p>
            <a:r>
              <a:rPr lang="nl-NL" noProof="1"/>
              <a:t>pagina </a:t>
            </a:r>
            <a:fld id="{1336C48C-F87C-4E4B-81EF-5027B17D1F61}" type="slidenum">
              <a:rPr lang="nl-NL" noProof="1" smtClean="0"/>
              <a:pPr/>
              <a:t>‹nr.›</a:t>
            </a:fld>
            <a:endParaRPr lang="nl-NL" noProof="1"/>
          </a:p>
        </p:txBody>
      </p:sp>
    </p:spTree>
    <p:extLst>
      <p:ext uri="{BB962C8B-B14F-4D97-AF65-F5344CB8AC3E}">
        <p14:creationId xmlns:p14="http://schemas.microsoft.com/office/powerpoint/2010/main" val="37219098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2" name="Tijdelijke aanduiding voor datum 1"/>
          <p:cNvSpPr>
            <a:spLocks noGrp="1" noSelect="1"/>
          </p:cNvSpPr>
          <p:nvPr>
            <p:ph type="dt" sz="half" idx="10"/>
          </p:nvPr>
        </p:nvSpPr>
        <p:spPr bwMode="gray"/>
        <p:txBody>
          <a:bodyPr/>
          <a:lstStyle/>
          <a:p>
            <a:fld id="{6A807A3B-5E6A-4278-AC64-ACAE88FA6E19}" type="datetime4">
              <a:rPr lang="nl-NL" noProof="1" smtClean="0"/>
              <a:t>22 september 2022</a:t>
            </a:fld>
            <a:endParaRPr lang="nl-NL" noProof="1"/>
          </a:p>
        </p:txBody>
      </p:sp>
      <p:sp>
        <p:nvSpPr>
          <p:cNvPr id="3" name="Tijdelijke aanduiding voor voettekst 2"/>
          <p:cNvSpPr>
            <a:spLocks noGrp="1" noSelect="1"/>
          </p:cNvSpPr>
          <p:nvPr>
            <p:ph type="ftr" sz="quarter" idx="11"/>
          </p:nvPr>
        </p:nvSpPr>
        <p:spPr bwMode="gray"/>
        <p:txBody>
          <a:bodyPr/>
          <a:lstStyle/>
          <a:p>
            <a:r>
              <a:rPr lang="nl-NL" noProof="1"/>
              <a:t>[Plaats hier de aanduiding van het OM onderdeel]</a:t>
            </a:r>
          </a:p>
        </p:txBody>
      </p:sp>
      <p:sp>
        <p:nvSpPr>
          <p:cNvPr id="4" name="Tijdelijke aanduiding voor dianummer 3"/>
          <p:cNvSpPr>
            <a:spLocks noGrp="1" noSelect="1"/>
          </p:cNvSpPr>
          <p:nvPr>
            <p:ph type="sldNum" sz="quarter" idx="12"/>
          </p:nvPr>
        </p:nvSpPr>
        <p:spPr bwMode="gray"/>
        <p:txBody>
          <a:bodyPr/>
          <a:lstStyle/>
          <a:p>
            <a:r>
              <a:rPr lang="nl-NL" noProof="1"/>
              <a:t>pagina </a:t>
            </a:r>
            <a:fld id="{1336C48C-F87C-4E4B-81EF-5027B17D1F61}" type="slidenum">
              <a:rPr lang="nl-NL" noProof="1" smtClean="0"/>
              <a:pPr/>
              <a:t>‹nr.›</a:t>
            </a:fld>
            <a:endParaRPr lang="nl-NL" noProof="1"/>
          </a:p>
        </p:txBody>
      </p:sp>
    </p:spTree>
    <p:extLst>
      <p:ext uri="{BB962C8B-B14F-4D97-AF65-F5344CB8AC3E}">
        <p14:creationId xmlns:p14="http://schemas.microsoft.com/office/powerpoint/2010/main" val="21782430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eldia blauw">
    <p:spTree>
      <p:nvGrpSpPr>
        <p:cNvPr id="1" name=""/>
        <p:cNvGrpSpPr/>
        <p:nvPr/>
      </p:nvGrpSpPr>
      <p:grpSpPr>
        <a:xfrm>
          <a:off x="0" y="0"/>
          <a:ext cx="0" cy="0"/>
          <a:chOff x="0" y="0"/>
          <a:chExt cx="0" cy="0"/>
        </a:xfrm>
      </p:grpSpPr>
      <p:sp>
        <p:nvSpPr>
          <p:cNvPr id="10" name="Rectangle 3"/>
          <p:cNvSpPr>
            <a:spLocks noSelect="1" noChangeArrowheads="1"/>
          </p:cNvSpPr>
          <p:nvPr userDrawn="1"/>
        </p:nvSpPr>
        <p:spPr bwMode="gray">
          <a:xfrm>
            <a:off x="0" y="0"/>
            <a:ext cx="12189600" cy="1709738"/>
          </a:xfrm>
          <a:prstGeom prst="rect">
            <a:avLst/>
          </a:prstGeom>
          <a:solidFill>
            <a:schemeClr val="accent2"/>
          </a:solidFill>
          <a:ln>
            <a:noFill/>
          </a:ln>
          <a:effectLst/>
        </p:spPr>
        <p:txBody>
          <a:bodyPr wrap="none" anchor="ctr"/>
          <a:lstStyle/>
          <a:p>
            <a:pPr eaLnBrk="1" hangingPunct="1">
              <a:defRPr/>
            </a:pPr>
            <a:endParaRPr lang="nl-NL" dirty="0">
              <a:latin typeface="Arial Black" charset="0"/>
            </a:endParaRPr>
          </a:p>
        </p:txBody>
      </p:sp>
      <p:sp>
        <p:nvSpPr>
          <p:cNvPr id="15" name="Rechthoek 14"/>
          <p:cNvSpPr>
            <a:spLocks noSelect="1"/>
          </p:cNvSpPr>
          <p:nvPr userDrawn="1"/>
        </p:nvSpPr>
        <p:spPr bwMode="gray">
          <a:xfrm>
            <a:off x="813" y="1711033"/>
            <a:ext cx="12189600" cy="450000"/>
          </a:xfrm>
          <a:prstGeom prst="rect">
            <a:avLst/>
          </a:prstGeom>
          <a:solidFill>
            <a:srgbClr val="001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0" name="Freeform 5"/>
          <p:cNvSpPr>
            <a:spLocks noSelect="1"/>
          </p:cNvSpPr>
          <p:nvPr userDrawn="1"/>
        </p:nvSpPr>
        <p:spPr bwMode="gray">
          <a:xfrm>
            <a:off x="1089025" y="1876425"/>
            <a:ext cx="2944813" cy="114300"/>
          </a:xfrm>
          <a:custGeom>
            <a:avLst/>
            <a:gdLst>
              <a:gd name="T0" fmla="*/ 6618 w 9279"/>
              <a:gd name="T1" fmla="*/ 356 h 356"/>
              <a:gd name="T2" fmla="*/ 6602 w 9279"/>
              <a:gd name="T3" fmla="*/ 290 h 356"/>
              <a:gd name="T4" fmla="*/ 6540 w 9279"/>
              <a:gd name="T5" fmla="*/ 124 h 356"/>
              <a:gd name="T6" fmla="*/ 6938 w 9279"/>
              <a:gd name="T7" fmla="*/ 78 h 356"/>
              <a:gd name="T8" fmla="*/ 6618 w 9279"/>
              <a:gd name="T9" fmla="*/ 64 h 356"/>
              <a:gd name="T10" fmla="*/ 8373 w 9279"/>
              <a:gd name="T11" fmla="*/ 222 h 356"/>
              <a:gd name="T12" fmla="*/ 8186 w 9279"/>
              <a:gd name="T13" fmla="*/ 222 h 356"/>
              <a:gd name="T14" fmla="*/ 8421 w 9279"/>
              <a:gd name="T15" fmla="*/ 0 h 356"/>
              <a:gd name="T16" fmla="*/ 8373 w 9279"/>
              <a:gd name="T17" fmla="*/ 222 h 356"/>
              <a:gd name="T18" fmla="*/ 8384 w 9279"/>
              <a:gd name="T19" fmla="*/ 61 h 356"/>
              <a:gd name="T20" fmla="*/ 2014 w 9279"/>
              <a:gd name="T21" fmla="*/ 237 h 356"/>
              <a:gd name="T22" fmla="*/ 1731 w 9279"/>
              <a:gd name="T23" fmla="*/ 356 h 356"/>
              <a:gd name="T24" fmla="*/ 2092 w 9279"/>
              <a:gd name="T25" fmla="*/ 0 h 356"/>
              <a:gd name="T26" fmla="*/ 2643 w 9279"/>
              <a:gd name="T27" fmla="*/ 286 h 356"/>
              <a:gd name="T28" fmla="*/ 2556 w 9279"/>
              <a:gd name="T29" fmla="*/ 0 h 356"/>
              <a:gd name="T30" fmla="*/ 2643 w 9279"/>
              <a:gd name="T31" fmla="*/ 241 h 356"/>
              <a:gd name="T32" fmla="*/ 2555 w 9279"/>
              <a:gd name="T33" fmla="*/ 83 h 356"/>
              <a:gd name="T34" fmla="*/ 2559 w 9279"/>
              <a:gd name="T35" fmla="*/ 233 h 356"/>
              <a:gd name="T36" fmla="*/ 2517 w 9279"/>
              <a:gd name="T37" fmla="*/ 292 h 356"/>
              <a:gd name="T38" fmla="*/ 8980 w 9279"/>
              <a:gd name="T39" fmla="*/ 202 h 356"/>
              <a:gd name="T40" fmla="*/ 8980 w 9279"/>
              <a:gd name="T41" fmla="*/ 63 h 356"/>
              <a:gd name="T42" fmla="*/ 8893 w 9279"/>
              <a:gd name="T43" fmla="*/ 356 h 356"/>
              <a:gd name="T44" fmla="*/ 1227 w 9279"/>
              <a:gd name="T45" fmla="*/ 202 h 356"/>
              <a:gd name="T46" fmla="*/ 1227 w 9279"/>
              <a:gd name="T47" fmla="*/ 63 h 356"/>
              <a:gd name="T48" fmla="*/ 1140 w 9279"/>
              <a:gd name="T49" fmla="*/ 356 h 356"/>
              <a:gd name="T50" fmla="*/ 1227 w 9279"/>
              <a:gd name="T51" fmla="*/ 202 h 356"/>
              <a:gd name="T52" fmla="*/ 93 w 9279"/>
              <a:gd name="T53" fmla="*/ 356 h 356"/>
              <a:gd name="T54" fmla="*/ 368 w 9279"/>
              <a:gd name="T55" fmla="*/ 0 h 356"/>
              <a:gd name="T56" fmla="*/ 87 w 9279"/>
              <a:gd name="T57" fmla="*/ 288 h 356"/>
              <a:gd name="T58" fmla="*/ 1015 w 9279"/>
              <a:gd name="T59" fmla="*/ 148 h 356"/>
              <a:gd name="T60" fmla="*/ 611 w 9279"/>
              <a:gd name="T61" fmla="*/ 356 h 356"/>
              <a:gd name="T62" fmla="*/ 934 w 9279"/>
              <a:gd name="T63" fmla="*/ 90 h 356"/>
              <a:gd name="T64" fmla="*/ 895 w 9279"/>
              <a:gd name="T65" fmla="*/ 156 h 356"/>
              <a:gd name="T66" fmla="*/ 8735 w 9279"/>
              <a:gd name="T67" fmla="*/ 356 h 356"/>
              <a:gd name="T68" fmla="*/ 6051 w 9279"/>
              <a:gd name="T69" fmla="*/ 237 h 356"/>
              <a:gd name="T70" fmla="*/ 5768 w 9279"/>
              <a:gd name="T71" fmla="*/ 356 h 356"/>
              <a:gd name="T72" fmla="*/ 6129 w 9279"/>
              <a:gd name="T73" fmla="*/ 0 h 356"/>
              <a:gd name="T74" fmla="*/ 5444 w 9279"/>
              <a:gd name="T75" fmla="*/ 178 h 356"/>
              <a:gd name="T76" fmla="*/ 5531 w 9279"/>
              <a:gd name="T77" fmla="*/ 178 h 356"/>
              <a:gd name="T78" fmla="*/ 6288 w 9279"/>
              <a:gd name="T79" fmla="*/ 356 h 356"/>
              <a:gd name="T80" fmla="*/ 6288 w 9279"/>
              <a:gd name="T81" fmla="*/ 356 h 356"/>
              <a:gd name="T82" fmla="*/ 4798 w 9279"/>
              <a:gd name="T83" fmla="*/ 356 h 356"/>
              <a:gd name="T84" fmla="*/ 5046 w 9279"/>
              <a:gd name="T85" fmla="*/ 313 h 356"/>
              <a:gd name="T86" fmla="*/ 5286 w 9279"/>
              <a:gd name="T87" fmla="*/ 0 h 356"/>
              <a:gd name="T88" fmla="*/ 3804 w 9279"/>
              <a:gd name="T89" fmla="*/ 356 h 356"/>
              <a:gd name="T90" fmla="*/ 3381 w 9279"/>
              <a:gd name="T91" fmla="*/ 356 h 356"/>
              <a:gd name="T92" fmla="*/ 3626 w 9279"/>
              <a:gd name="T93" fmla="*/ 213 h 356"/>
              <a:gd name="T94" fmla="*/ 7676 w 9279"/>
              <a:gd name="T95" fmla="*/ 202 h 356"/>
              <a:gd name="T96" fmla="*/ 7676 w 9279"/>
              <a:gd name="T97" fmla="*/ 63 h 356"/>
              <a:gd name="T98" fmla="*/ 7589 w 9279"/>
              <a:gd name="T99" fmla="*/ 356 h 356"/>
              <a:gd name="T100" fmla="*/ 7676 w 9279"/>
              <a:gd name="T101" fmla="*/ 202 h 356"/>
              <a:gd name="T102" fmla="*/ 4060 w 9279"/>
              <a:gd name="T103" fmla="*/ 221 h 356"/>
              <a:gd name="T104" fmla="*/ 3892 w 9279"/>
              <a:gd name="T105" fmla="*/ 0 h 356"/>
              <a:gd name="T106" fmla="*/ 4213 w 9279"/>
              <a:gd name="T107" fmla="*/ 221 h 356"/>
              <a:gd name="T108" fmla="*/ 4216 w 9279"/>
              <a:gd name="T109" fmla="*/ 90 h 356"/>
              <a:gd name="T110" fmla="*/ 4176 w 9279"/>
              <a:gd name="T111" fmla="*/ 160 h 356"/>
              <a:gd name="T112" fmla="*/ 3088 w 9279"/>
              <a:gd name="T113" fmla="*/ 278 h 356"/>
              <a:gd name="T114" fmla="*/ 2932 w 9279"/>
              <a:gd name="T115" fmla="*/ 0 h 356"/>
              <a:gd name="T116" fmla="*/ 2889 w 9279"/>
              <a:gd name="T117" fmla="*/ 213 h 356"/>
              <a:gd name="T118" fmla="*/ 7217 w 9279"/>
              <a:gd name="T119" fmla="*/ 356 h 356"/>
              <a:gd name="T120" fmla="*/ 7477 w 9279"/>
              <a:gd name="T121"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79" h="356">
                <a:moveTo>
                  <a:pt x="6942" y="223"/>
                </a:moveTo>
                <a:cubicBezTo>
                  <a:pt x="6942" y="272"/>
                  <a:pt x="6942" y="272"/>
                  <a:pt x="6942" y="272"/>
                </a:cubicBezTo>
                <a:cubicBezTo>
                  <a:pt x="6942" y="339"/>
                  <a:pt x="6920" y="356"/>
                  <a:pt x="6849" y="356"/>
                </a:cubicBezTo>
                <a:cubicBezTo>
                  <a:pt x="6618" y="356"/>
                  <a:pt x="6618" y="356"/>
                  <a:pt x="6618" y="356"/>
                </a:cubicBezTo>
                <a:cubicBezTo>
                  <a:pt x="6547" y="356"/>
                  <a:pt x="6524" y="339"/>
                  <a:pt x="6524" y="272"/>
                </a:cubicBezTo>
                <a:cubicBezTo>
                  <a:pt x="6524" y="262"/>
                  <a:pt x="6524" y="262"/>
                  <a:pt x="6524" y="262"/>
                </a:cubicBezTo>
                <a:cubicBezTo>
                  <a:pt x="6602" y="248"/>
                  <a:pt x="6602" y="248"/>
                  <a:pt x="6602" y="248"/>
                </a:cubicBezTo>
                <a:cubicBezTo>
                  <a:pt x="6602" y="290"/>
                  <a:pt x="6602" y="290"/>
                  <a:pt x="6602" y="290"/>
                </a:cubicBezTo>
                <a:cubicBezTo>
                  <a:pt x="6864" y="290"/>
                  <a:pt x="6864" y="290"/>
                  <a:pt x="6864" y="290"/>
                </a:cubicBezTo>
                <a:cubicBezTo>
                  <a:pt x="6864" y="208"/>
                  <a:pt x="6864" y="208"/>
                  <a:pt x="6864" y="208"/>
                </a:cubicBezTo>
                <a:cubicBezTo>
                  <a:pt x="6633" y="208"/>
                  <a:pt x="6633" y="208"/>
                  <a:pt x="6633" y="208"/>
                </a:cubicBezTo>
                <a:cubicBezTo>
                  <a:pt x="6563" y="208"/>
                  <a:pt x="6540" y="191"/>
                  <a:pt x="6540" y="124"/>
                </a:cubicBezTo>
                <a:cubicBezTo>
                  <a:pt x="6540" y="84"/>
                  <a:pt x="6540" y="84"/>
                  <a:pt x="6540" y="84"/>
                </a:cubicBezTo>
                <a:cubicBezTo>
                  <a:pt x="6540" y="17"/>
                  <a:pt x="6563" y="0"/>
                  <a:pt x="6633" y="0"/>
                </a:cubicBezTo>
                <a:cubicBezTo>
                  <a:pt x="6844" y="0"/>
                  <a:pt x="6844" y="0"/>
                  <a:pt x="6844" y="0"/>
                </a:cubicBezTo>
                <a:cubicBezTo>
                  <a:pt x="6910" y="0"/>
                  <a:pt x="6938" y="15"/>
                  <a:pt x="6938" y="78"/>
                </a:cubicBezTo>
                <a:cubicBezTo>
                  <a:pt x="6938" y="86"/>
                  <a:pt x="6938" y="86"/>
                  <a:pt x="6938" y="86"/>
                </a:cubicBezTo>
                <a:cubicBezTo>
                  <a:pt x="6863" y="102"/>
                  <a:pt x="6863" y="102"/>
                  <a:pt x="6863" y="102"/>
                </a:cubicBezTo>
                <a:cubicBezTo>
                  <a:pt x="6863" y="64"/>
                  <a:pt x="6863" y="64"/>
                  <a:pt x="6863" y="64"/>
                </a:cubicBezTo>
                <a:cubicBezTo>
                  <a:pt x="6618" y="64"/>
                  <a:pt x="6618" y="64"/>
                  <a:pt x="6618" y="64"/>
                </a:cubicBezTo>
                <a:cubicBezTo>
                  <a:pt x="6618" y="139"/>
                  <a:pt x="6618" y="139"/>
                  <a:pt x="6618" y="139"/>
                </a:cubicBezTo>
                <a:cubicBezTo>
                  <a:pt x="6849" y="139"/>
                  <a:pt x="6849" y="139"/>
                  <a:pt x="6849" y="139"/>
                </a:cubicBezTo>
                <a:cubicBezTo>
                  <a:pt x="6920" y="139"/>
                  <a:pt x="6942" y="156"/>
                  <a:pt x="6942" y="223"/>
                </a:cubicBezTo>
                <a:close/>
                <a:moveTo>
                  <a:pt x="8373" y="222"/>
                </a:moveTo>
                <a:cubicBezTo>
                  <a:pt x="8542" y="356"/>
                  <a:pt x="8542" y="356"/>
                  <a:pt x="8542" y="356"/>
                </a:cubicBezTo>
                <a:cubicBezTo>
                  <a:pt x="8417" y="356"/>
                  <a:pt x="8417" y="356"/>
                  <a:pt x="8417" y="356"/>
                </a:cubicBezTo>
                <a:cubicBezTo>
                  <a:pt x="8268" y="222"/>
                  <a:pt x="8268" y="222"/>
                  <a:pt x="8268" y="222"/>
                </a:cubicBezTo>
                <a:cubicBezTo>
                  <a:pt x="8186" y="222"/>
                  <a:pt x="8186" y="222"/>
                  <a:pt x="8186" y="222"/>
                </a:cubicBezTo>
                <a:cubicBezTo>
                  <a:pt x="8186" y="356"/>
                  <a:pt x="8186" y="356"/>
                  <a:pt x="8186" y="356"/>
                </a:cubicBezTo>
                <a:cubicBezTo>
                  <a:pt x="8101" y="356"/>
                  <a:pt x="8101" y="356"/>
                  <a:pt x="8101" y="356"/>
                </a:cubicBezTo>
                <a:cubicBezTo>
                  <a:pt x="8101" y="0"/>
                  <a:pt x="8101" y="0"/>
                  <a:pt x="8101" y="0"/>
                </a:cubicBezTo>
                <a:cubicBezTo>
                  <a:pt x="8421" y="0"/>
                  <a:pt x="8421" y="0"/>
                  <a:pt x="8421" y="0"/>
                </a:cubicBezTo>
                <a:cubicBezTo>
                  <a:pt x="8479" y="0"/>
                  <a:pt x="8505" y="19"/>
                  <a:pt x="8505" y="69"/>
                </a:cubicBezTo>
                <a:cubicBezTo>
                  <a:pt x="8505" y="153"/>
                  <a:pt x="8505" y="153"/>
                  <a:pt x="8505" y="153"/>
                </a:cubicBezTo>
                <a:cubicBezTo>
                  <a:pt x="8505" y="202"/>
                  <a:pt x="8479" y="222"/>
                  <a:pt x="8421" y="222"/>
                </a:cubicBezTo>
                <a:lnTo>
                  <a:pt x="8373" y="222"/>
                </a:lnTo>
                <a:close/>
                <a:moveTo>
                  <a:pt x="8384" y="160"/>
                </a:moveTo>
                <a:cubicBezTo>
                  <a:pt x="8410" y="160"/>
                  <a:pt x="8424" y="155"/>
                  <a:pt x="8424" y="131"/>
                </a:cubicBezTo>
                <a:cubicBezTo>
                  <a:pt x="8424" y="90"/>
                  <a:pt x="8424" y="90"/>
                  <a:pt x="8424" y="90"/>
                </a:cubicBezTo>
                <a:cubicBezTo>
                  <a:pt x="8424" y="67"/>
                  <a:pt x="8410" y="61"/>
                  <a:pt x="8384" y="61"/>
                </a:cubicBezTo>
                <a:cubicBezTo>
                  <a:pt x="8186" y="61"/>
                  <a:pt x="8186" y="61"/>
                  <a:pt x="8186" y="61"/>
                </a:cubicBezTo>
                <a:cubicBezTo>
                  <a:pt x="8186" y="160"/>
                  <a:pt x="8186" y="160"/>
                  <a:pt x="8186" y="160"/>
                </a:cubicBezTo>
                <a:lnTo>
                  <a:pt x="8384" y="160"/>
                </a:lnTo>
                <a:close/>
                <a:moveTo>
                  <a:pt x="2014" y="237"/>
                </a:moveTo>
                <a:cubicBezTo>
                  <a:pt x="1711" y="0"/>
                  <a:pt x="1711" y="0"/>
                  <a:pt x="1711" y="0"/>
                </a:cubicBezTo>
                <a:cubicBezTo>
                  <a:pt x="1652" y="0"/>
                  <a:pt x="1652" y="0"/>
                  <a:pt x="1652" y="0"/>
                </a:cubicBezTo>
                <a:cubicBezTo>
                  <a:pt x="1652" y="356"/>
                  <a:pt x="1652" y="356"/>
                  <a:pt x="1652" y="356"/>
                </a:cubicBezTo>
                <a:cubicBezTo>
                  <a:pt x="1731" y="356"/>
                  <a:pt x="1731" y="356"/>
                  <a:pt x="1731" y="356"/>
                </a:cubicBezTo>
                <a:cubicBezTo>
                  <a:pt x="1731" y="116"/>
                  <a:pt x="1731" y="116"/>
                  <a:pt x="1731" y="116"/>
                </a:cubicBezTo>
                <a:cubicBezTo>
                  <a:pt x="2032" y="356"/>
                  <a:pt x="2032" y="356"/>
                  <a:pt x="2032" y="356"/>
                </a:cubicBezTo>
                <a:cubicBezTo>
                  <a:pt x="2092" y="356"/>
                  <a:pt x="2092" y="356"/>
                  <a:pt x="2092" y="356"/>
                </a:cubicBezTo>
                <a:cubicBezTo>
                  <a:pt x="2092" y="0"/>
                  <a:pt x="2092" y="0"/>
                  <a:pt x="2092" y="0"/>
                </a:cubicBezTo>
                <a:cubicBezTo>
                  <a:pt x="2014" y="0"/>
                  <a:pt x="2014" y="0"/>
                  <a:pt x="2014" y="0"/>
                </a:cubicBezTo>
                <a:lnTo>
                  <a:pt x="2014" y="237"/>
                </a:lnTo>
                <a:close/>
                <a:moveTo>
                  <a:pt x="2643" y="241"/>
                </a:moveTo>
                <a:cubicBezTo>
                  <a:pt x="2643" y="286"/>
                  <a:pt x="2643" y="286"/>
                  <a:pt x="2643" y="286"/>
                </a:cubicBezTo>
                <a:cubicBezTo>
                  <a:pt x="2643" y="334"/>
                  <a:pt x="2606" y="356"/>
                  <a:pt x="2533" y="356"/>
                </a:cubicBezTo>
                <a:cubicBezTo>
                  <a:pt x="2236" y="356"/>
                  <a:pt x="2236" y="356"/>
                  <a:pt x="2236" y="356"/>
                </a:cubicBezTo>
                <a:cubicBezTo>
                  <a:pt x="2236" y="0"/>
                  <a:pt x="2236" y="0"/>
                  <a:pt x="2236" y="0"/>
                </a:cubicBezTo>
                <a:cubicBezTo>
                  <a:pt x="2556" y="0"/>
                  <a:pt x="2556" y="0"/>
                  <a:pt x="2556" y="0"/>
                </a:cubicBezTo>
                <a:cubicBezTo>
                  <a:pt x="2613" y="0"/>
                  <a:pt x="2640" y="19"/>
                  <a:pt x="2640" y="69"/>
                </a:cubicBezTo>
                <a:cubicBezTo>
                  <a:pt x="2640" y="112"/>
                  <a:pt x="2640" y="112"/>
                  <a:pt x="2640" y="112"/>
                </a:cubicBezTo>
                <a:cubicBezTo>
                  <a:pt x="2640" y="145"/>
                  <a:pt x="2619" y="166"/>
                  <a:pt x="2580" y="173"/>
                </a:cubicBezTo>
                <a:cubicBezTo>
                  <a:pt x="2620" y="179"/>
                  <a:pt x="2643" y="205"/>
                  <a:pt x="2643" y="241"/>
                </a:cubicBezTo>
                <a:close/>
                <a:moveTo>
                  <a:pt x="2322" y="142"/>
                </a:moveTo>
                <a:cubicBezTo>
                  <a:pt x="2517" y="142"/>
                  <a:pt x="2517" y="142"/>
                  <a:pt x="2517" y="142"/>
                </a:cubicBezTo>
                <a:cubicBezTo>
                  <a:pt x="2543" y="142"/>
                  <a:pt x="2555" y="138"/>
                  <a:pt x="2555" y="117"/>
                </a:cubicBezTo>
                <a:cubicBezTo>
                  <a:pt x="2555" y="83"/>
                  <a:pt x="2555" y="83"/>
                  <a:pt x="2555" y="83"/>
                </a:cubicBezTo>
                <a:cubicBezTo>
                  <a:pt x="2555" y="62"/>
                  <a:pt x="2544" y="58"/>
                  <a:pt x="2517" y="58"/>
                </a:cubicBezTo>
                <a:cubicBezTo>
                  <a:pt x="2322" y="58"/>
                  <a:pt x="2322" y="58"/>
                  <a:pt x="2322" y="58"/>
                </a:cubicBezTo>
                <a:lnTo>
                  <a:pt x="2322" y="142"/>
                </a:lnTo>
                <a:close/>
                <a:moveTo>
                  <a:pt x="2559" y="233"/>
                </a:moveTo>
                <a:cubicBezTo>
                  <a:pt x="2559" y="207"/>
                  <a:pt x="2546" y="201"/>
                  <a:pt x="2517" y="201"/>
                </a:cubicBezTo>
                <a:cubicBezTo>
                  <a:pt x="2322" y="201"/>
                  <a:pt x="2322" y="201"/>
                  <a:pt x="2322" y="201"/>
                </a:cubicBezTo>
                <a:cubicBezTo>
                  <a:pt x="2322" y="292"/>
                  <a:pt x="2322" y="292"/>
                  <a:pt x="2322" y="292"/>
                </a:cubicBezTo>
                <a:cubicBezTo>
                  <a:pt x="2517" y="292"/>
                  <a:pt x="2517" y="292"/>
                  <a:pt x="2517" y="292"/>
                </a:cubicBezTo>
                <a:cubicBezTo>
                  <a:pt x="2546" y="292"/>
                  <a:pt x="2559" y="286"/>
                  <a:pt x="2559" y="260"/>
                </a:cubicBezTo>
                <a:lnTo>
                  <a:pt x="2559" y="233"/>
                </a:lnTo>
                <a:close/>
                <a:moveTo>
                  <a:pt x="8980" y="290"/>
                </a:moveTo>
                <a:cubicBezTo>
                  <a:pt x="8980" y="202"/>
                  <a:pt x="8980" y="202"/>
                  <a:pt x="8980" y="202"/>
                </a:cubicBezTo>
                <a:cubicBezTo>
                  <a:pt x="9152" y="202"/>
                  <a:pt x="9152" y="202"/>
                  <a:pt x="9152" y="202"/>
                </a:cubicBezTo>
                <a:cubicBezTo>
                  <a:pt x="9152" y="141"/>
                  <a:pt x="9152" y="141"/>
                  <a:pt x="9152" y="141"/>
                </a:cubicBezTo>
                <a:cubicBezTo>
                  <a:pt x="8980" y="141"/>
                  <a:pt x="8980" y="141"/>
                  <a:pt x="8980" y="141"/>
                </a:cubicBezTo>
                <a:cubicBezTo>
                  <a:pt x="8980" y="63"/>
                  <a:pt x="8980" y="63"/>
                  <a:pt x="8980" y="63"/>
                </a:cubicBezTo>
                <a:cubicBezTo>
                  <a:pt x="9275" y="63"/>
                  <a:pt x="9275" y="63"/>
                  <a:pt x="9275" y="63"/>
                </a:cubicBezTo>
                <a:cubicBezTo>
                  <a:pt x="9275" y="0"/>
                  <a:pt x="9275" y="0"/>
                  <a:pt x="9275" y="0"/>
                </a:cubicBezTo>
                <a:cubicBezTo>
                  <a:pt x="8893" y="0"/>
                  <a:pt x="8893" y="0"/>
                  <a:pt x="8893" y="0"/>
                </a:cubicBezTo>
                <a:cubicBezTo>
                  <a:pt x="8893" y="356"/>
                  <a:pt x="8893" y="356"/>
                  <a:pt x="8893" y="356"/>
                </a:cubicBezTo>
                <a:cubicBezTo>
                  <a:pt x="9279" y="356"/>
                  <a:pt x="9279" y="356"/>
                  <a:pt x="9279" y="356"/>
                </a:cubicBezTo>
                <a:cubicBezTo>
                  <a:pt x="9279" y="290"/>
                  <a:pt x="9279" y="290"/>
                  <a:pt x="9279" y="290"/>
                </a:cubicBezTo>
                <a:lnTo>
                  <a:pt x="8980" y="290"/>
                </a:lnTo>
                <a:close/>
                <a:moveTo>
                  <a:pt x="1227" y="202"/>
                </a:moveTo>
                <a:cubicBezTo>
                  <a:pt x="1399" y="202"/>
                  <a:pt x="1399" y="202"/>
                  <a:pt x="1399" y="202"/>
                </a:cubicBezTo>
                <a:cubicBezTo>
                  <a:pt x="1399" y="141"/>
                  <a:pt x="1399" y="141"/>
                  <a:pt x="1399" y="141"/>
                </a:cubicBezTo>
                <a:cubicBezTo>
                  <a:pt x="1227" y="141"/>
                  <a:pt x="1227" y="141"/>
                  <a:pt x="1227" y="141"/>
                </a:cubicBezTo>
                <a:cubicBezTo>
                  <a:pt x="1227" y="63"/>
                  <a:pt x="1227" y="63"/>
                  <a:pt x="1227" y="63"/>
                </a:cubicBezTo>
                <a:cubicBezTo>
                  <a:pt x="1522" y="63"/>
                  <a:pt x="1522" y="63"/>
                  <a:pt x="1522" y="63"/>
                </a:cubicBezTo>
                <a:cubicBezTo>
                  <a:pt x="1522" y="0"/>
                  <a:pt x="1522" y="0"/>
                  <a:pt x="1522" y="0"/>
                </a:cubicBezTo>
                <a:cubicBezTo>
                  <a:pt x="1140" y="0"/>
                  <a:pt x="1140" y="0"/>
                  <a:pt x="1140" y="0"/>
                </a:cubicBezTo>
                <a:cubicBezTo>
                  <a:pt x="1140" y="356"/>
                  <a:pt x="1140" y="356"/>
                  <a:pt x="1140" y="356"/>
                </a:cubicBezTo>
                <a:cubicBezTo>
                  <a:pt x="1526" y="356"/>
                  <a:pt x="1526" y="356"/>
                  <a:pt x="1526" y="356"/>
                </a:cubicBezTo>
                <a:cubicBezTo>
                  <a:pt x="1526" y="290"/>
                  <a:pt x="1526" y="290"/>
                  <a:pt x="1526" y="290"/>
                </a:cubicBezTo>
                <a:cubicBezTo>
                  <a:pt x="1227" y="290"/>
                  <a:pt x="1227" y="290"/>
                  <a:pt x="1227" y="290"/>
                </a:cubicBezTo>
                <a:lnTo>
                  <a:pt x="1227" y="202"/>
                </a:lnTo>
                <a:close/>
                <a:moveTo>
                  <a:pt x="461" y="84"/>
                </a:moveTo>
                <a:cubicBezTo>
                  <a:pt x="461" y="272"/>
                  <a:pt x="461" y="272"/>
                  <a:pt x="461" y="272"/>
                </a:cubicBezTo>
                <a:cubicBezTo>
                  <a:pt x="461" y="339"/>
                  <a:pt x="438" y="356"/>
                  <a:pt x="368" y="356"/>
                </a:cubicBezTo>
                <a:cubicBezTo>
                  <a:pt x="93" y="356"/>
                  <a:pt x="93" y="356"/>
                  <a:pt x="93" y="356"/>
                </a:cubicBezTo>
                <a:cubicBezTo>
                  <a:pt x="22" y="356"/>
                  <a:pt x="0" y="339"/>
                  <a:pt x="0" y="272"/>
                </a:cubicBezTo>
                <a:cubicBezTo>
                  <a:pt x="0" y="84"/>
                  <a:pt x="0" y="84"/>
                  <a:pt x="0" y="84"/>
                </a:cubicBezTo>
                <a:cubicBezTo>
                  <a:pt x="0" y="16"/>
                  <a:pt x="23" y="0"/>
                  <a:pt x="93" y="0"/>
                </a:cubicBezTo>
                <a:cubicBezTo>
                  <a:pt x="368" y="0"/>
                  <a:pt x="368" y="0"/>
                  <a:pt x="368" y="0"/>
                </a:cubicBezTo>
                <a:cubicBezTo>
                  <a:pt x="438" y="0"/>
                  <a:pt x="461" y="16"/>
                  <a:pt x="461" y="84"/>
                </a:cubicBezTo>
                <a:close/>
                <a:moveTo>
                  <a:pt x="374" y="66"/>
                </a:moveTo>
                <a:cubicBezTo>
                  <a:pt x="87" y="66"/>
                  <a:pt x="87" y="66"/>
                  <a:pt x="87" y="66"/>
                </a:cubicBezTo>
                <a:cubicBezTo>
                  <a:pt x="87" y="288"/>
                  <a:pt x="87" y="288"/>
                  <a:pt x="87" y="288"/>
                </a:cubicBezTo>
                <a:cubicBezTo>
                  <a:pt x="374" y="288"/>
                  <a:pt x="374" y="288"/>
                  <a:pt x="374" y="288"/>
                </a:cubicBezTo>
                <a:lnTo>
                  <a:pt x="374" y="66"/>
                </a:lnTo>
                <a:close/>
                <a:moveTo>
                  <a:pt x="1015" y="69"/>
                </a:moveTo>
                <a:cubicBezTo>
                  <a:pt x="1015" y="148"/>
                  <a:pt x="1015" y="148"/>
                  <a:pt x="1015" y="148"/>
                </a:cubicBezTo>
                <a:cubicBezTo>
                  <a:pt x="1015" y="198"/>
                  <a:pt x="989" y="217"/>
                  <a:pt x="932" y="217"/>
                </a:cubicBezTo>
                <a:cubicBezTo>
                  <a:pt x="697" y="217"/>
                  <a:pt x="697" y="217"/>
                  <a:pt x="697" y="217"/>
                </a:cubicBezTo>
                <a:cubicBezTo>
                  <a:pt x="697" y="356"/>
                  <a:pt x="697" y="356"/>
                  <a:pt x="697" y="356"/>
                </a:cubicBezTo>
                <a:cubicBezTo>
                  <a:pt x="611" y="356"/>
                  <a:pt x="611" y="356"/>
                  <a:pt x="611" y="356"/>
                </a:cubicBezTo>
                <a:cubicBezTo>
                  <a:pt x="611" y="0"/>
                  <a:pt x="611" y="0"/>
                  <a:pt x="611" y="0"/>
                </a:cubicBezTo>
                <a:cubicBezTo>
                  <a:pt x="932" y="0"/>
                  <a:pt x="932" y="0"/>
                  <a:pt x="932" y="0"/>
                </a:cubicBezTo>
                <a:cubicBezTo>
                  <a:pt x="989" y="0"/>
                  <a:pt x="1015" y="19"/>
                  <a:pt x="1015" y="69"/>
                </a:cubicBezTo>
                <a:close/>
                <a:moveTo>
                  <a:pt x="934" y="90"/>
                </a:moveTo>
                <a:cubicBezTo>
                  <a:pt x="934" y="67"/>
                  <a:pt x="921" y="61"/>
                  <a:pt x="895" y="61"/>
                </a:cubicBezTo>
                <a:cubicBezTo>
                  <a:pt x="697" y="61"/>
                  <a:pt x="697" y="61"/>
                  <a:pt x="697" y="61"/>
                </a:cubicBezTo>
                <a:cubicBezTo>
                  <a:pt x="697" y="156"/>
                  <a:pt x="697" y="156"/>
                  <a:pt x="697" y="156"/>
                </a:cubicBezTo>
                <a:cubicBezTo>
                  <a:pt x="895" y="156"/>
                  <a:pt x="895" y="156"/>
                  <a:pt x="895" y="156"/>
                </a:cubicBezTo>
                <a:cubicBezTo>
                  <a:pt x="921" y="156"/>
                  <a:pt x="934" y="151"/>
                  <a:pt x="934" y="127"/>
                </a:cubicBezTo>
                <a:lnTo>
                  <a:pt x="934" y="90"/>
                </a:lnTo>
                <a:close/>
                <a:moveTo>
                  <a:pt x="8648" y="356"/>
                </a:moveTo>
                <a:cubicBezTo>
                  <a:pt x="8735" y="356"/>
                  <a:pt x="8735" y="356"/>
                  <a:pt x="8735" y="356"/>
                </a:cubicBezTo>
                <a:cubicBezTo>
                  <a:pt x="8735" y="0"/>
                  <a:pt x="8735" y="0"/>
                  <a:pt x="8735" y="0"/>
                </a:cubicBezTo>
                <a:cubicBezTo>
                  <a:pt x="8648" y="0"/>
                  <a:pt x="8648" y="0"/>
                  <a:pt x="8648" y="0"/>
                </a:cubicBezTo>
                <a:lnTo>
                  <a:pt x="8648" y="356"/>
                </a:lnTo>
                <a:close/>
                <a:moveTo>
                  <a:pt x="6051" y="237"/>
                </a:moveTo>
                <a:cubicBezTo>
                  <a:pt x="5749" y="0"/>
                  <a:pt x="5749" y="0"/>
                  <a:pt x="5749" y="0"/>
                </a:cubicBezTo>
                <a:cubicBezTo>
                  <a:pt x="5689" y="0"/>
                  <a:pt x="5689" y="0"/>
                  <a:pt x="5689" y="0"/>
                </a:cubicBezTo>
                <a:cubicBezTo>
                  <a:pt x="5689" y="356"/>
                  <a:pt x="5689" y="356"/>
                  <a:pt x="5689" y="356"/>
                </a:cubicBezTo>
                <a:cubicBezTo>
                  <a:pt x="5768" y="356"/>
                  <a:pt x="5768" y="356"/>
                  <a:pt x="5768" y="356"/>
                </a:cubicBezTo>
                <a:cubicBezTo>
                  <a:pt x="5768" y="116"/>
                  <a:pt x="5768" y="116"/>
                  <a:pt x="5768" y="116"/>
                </a:cubicBezTo>
                <a:cubicBezTo>
                  <a:pt x="6070" y="356"/>
                  <a:pt x="6070" y="356"/>
                  <a:pt x="6070" y="356"/>
                </a:cubicBezTo>
                <a:cubicBezTo>
                  <a:pt x="6129" y="356"/>
                  <a:pt x="6129" y="356"/>
                  <a:pt x="6129" y="356"/>
                </a:cubicBezTo>
                <a:cubicBezTo>
                  <a:pt x="6129" y="0"/>
                  <a:pt x="6129" y="0"/>
                  <a:pt x="6129" y="0"/>
                </a:cubicBezTo>
                <a:cubicBezTo>
                  <a:pt x="6051" y="0"/>
                  <a:pt x="6051" y="0"/>
                  <a:pt x="6051" y="0"/>
                </a:cubicBezTo>
                <a:lnTo>
                  <a:pt x="6051" y="237"/>
                </a:lnTo>
                <a:close/>
                <a:moveTo>
                  <a:pt x="5444" y="0"/>
                </a:moveTo>
                <a:cubicBezTo>
                  <a:pt x="5444" y="178"/>
                  <a:pt x="5444" y="178"/>
                  <a:pt x="5444" y="178"/>
                </a:cubicBezTo>
                <a:cubicBezTo>
                  <a:pt x="5444" y="356"/>
                  <a:pt x="5444" y="356"/>
                  <a:pt x="5444" y="356"/>
                </a:cubicBezTo>
                <a:cubicBezTo>
                  <a:pt x="5487" y="356"/>
                  <a:pt x="5487" y="356"/>
                  <a:pt x="5487" y="356"/>
                </a:cubicBezTo>
                <a:cubicBezTo>
                  <a:pt x="5531" y="356"/>
                  <a:pt x="5531" y="356"/>
                  <a:pt x="5531" y="356"/>
                </a:cubicBezTo>
                <a:cubicBezTo>
                  <a:pt x="5531" y="178"/>
                  <a:pt x="5531" y="178"/>
                  <a:pt x="5531" y="178"/>
                </a:cubicBezTo>
                <a:cubicBezTo>
                  <a:pt x="5531" y="0"/>
                  <a:pt x="5531" y="0"/>
                  <a:pt x="5531" y="0"/>
                </a:cubicBezTo>
                <a:cubicBezTo>
                  <a:pt x="5531" y="0"/>
                  <a:pt x="5531" y="0"/>
                  <a:pt x="5531" y="0"/>
                </a:cubicBezTo>
                <a:cubicBezTo>
                  <a:pt x="5444" y="0"/>
                  <a:pt x="5444" y="0"/>
                  <a:pt x="5444" y="0"/>
                </a:cubicBezTo>
                <a:close/>
                <a:moveTo>
                  <a:pt x="6288" y="356"/>
                </a:moveTo>
                <a:cubicBezTo>
                  <a:pt x="6375" y="356"/>
                  <a:pt x="6375" y="356"/>
                  <a:pt x="6375" y="356"/>
                </a:cubicBezTo>
                <a:cubicBezTo>
                  <a:pt x="6375" y="0"/>
                  <a:pt x="6375" y="0"/>
                  <a:pt x="6375" y="0"/>
                </a:cubicBezTo>
                <a:cubicBezTo>
                  <a:pt x="6288" y="0"/>
                  <a:pt x="6288" y="0"/>
                  <a:pt x="6288" y="0"/>
                </a:cubicBezTo>
                <a:lnTo>
                  <a:pt x="6288" y="356"/>
                </a:lnTo>
                <a:close/>
                <a:moveTo>
                  <a:pt x="5042" y="211"/>
                </a:moveTo>
                <a:cubicBezTo>
                  <a:pt x="4868" y="0"/>
                  <a:pt x="4868" y="0"/>
                  <a:pt x="4868" y="0"/>
                </a:cubicBezTo>
                <a:cubicBezTo>
                  <a:pt x="4798" y="0"/>
                  <a:pt x="4798" y="0"/>
                  <a:pt x="4798" y="0"/>
                </a:cubicBezTo>
                <a:cubicBezTo>
                  <a:pt x="4798" y="356"/>
                  <a:pt x="4798" y="356"/>
                  <a:pt x="4798" y="356"/>
                </a:cubicBezTo>
                <a:cubicBezTo>
                  <a:pt x="4868" y="356"/>
                  <a:pt x="4868" y="356"/>
                  <a:pt x="4868" y="356"/>
                </a:cubicBezTo>
                <a:cubicBezTo>
                  <a:pt x="4868" y="117"/>
                  <a:pt x="4868" y="117"/>
                  <a:pt x="4868" y="117"/>
                </a:cubicBezTo>
                <a:cubicBezTo>
                  <a:pt x="5029" y="313"/>
                  <a:pt x="5029" y="313"/>
                  <a:pt x="5029" y="313"/>
                </a:cubicBezTo>
                <a:cubicBezTo>
                  <a:pt x="5046" y="313"/>
                  <a:pt x="5046" y="313"/>
                  <a:pt x="5046" y="313"/>
                </a:cubicBezTo>
                <a:cubicBezTo>
                  <a:pt x="5205" y="111"/>
                  <a:pt x="5205" y="111"/>
                  <a:pt x="5205" y="111"/>
                </a:cubicBezTo>
                <a:cubicBezTo>
                  <a:pt x="5205" y="356"/>
                  <a:pt x="5205" y="356"/>
                  <a:pt x="5205" y="356"/>
                </a:cubicBezTo>
                <a:cubicBezTo>
                  <a:pt x="5286" y="356"/>
                  <a:pt x="5286" y="356"/>
                  <a:pt x="5286" y="356"/>
                </a:cubicBezTo>
                <a:cubicBezTo>
                  <a:pt x="5286" y="0"/>
                  <a:pt x="5286" y="0"/>
                  <a:pt x="5286" y="0"/>
                </a:cubicBezTo>
                <a:cubicBezTo>
                  <a:pt x="5216" y="0"/>
                  <a:pt x="5216" y="0"/>
                  <a:pt x="5216" y="0"/>
                </a:cubicBezTo>
                <a:lnTo>
                  <a:pt x="5042" y="211"/>
                </a:lnTo>
                <a:close/>
                <a:moveTo>
                  <a:pt x="3589" y="0"/>
                </a:moveTo>
                <a:cubicBezTo>
                  <a:pt x="3804" y="356"/>
                  <a:pt x="3804" y="356"/>
                  <a:pt x="3804" y="356"/>
                </a:cubicBezTo>
                <a:cubicBezTo>
                  <a:pt x="3706" y="356"/>
                  <a:pt x="3706" y="356"/>
                  <a:pt x="3706" y="356"/>
                </a:cubicBezTo>
                <a:cubicBezTo>
                  <a:pt x="3662" y="278"/>
                  <a:pt x="3662" y="278"/>
                  <a:pt x="3662" y="278"/>
                </a:cubicBezTo>
                <a:cubicBezTo>
                  <a:pt x="3426" y="278"/>
                  <a:pt x="3426" y="278"/>
                  <a:pt x="3426" y="278"/>
                </a:cubicBezTo>
                <a:cubicBezTo>
                  <a:pt x="3381" y="356"/>
                  <a:pt x="3381" y="356"/>
                  <a:pt x="3381" y="356"/>
                </a:cubicBezTo>
                <a:cubicBezTo>
                  <a:pt x="3294" y="356"/>
                  <a:pt x="3294" y="356"/>
                  <a:pt x="3294" y="356"/>
                </a:cubicBezTo>
                <a:cubicBezTo>
                  <a:pt x="3506" y="0"/>
                  <a:pt x="3506" y="0"/>
                  <a:pt x="3506" y="0"/>
                </a:cubicBezTo>
                <a:lnTo>
                  <a:pt x="3589" y="0"/>
                </a:lnTo>
                <a:close/>
                <a:moveTo>
                  <a:pt x="3626" y="213"/>
                </a:moveTo>
                <a:cubicBezTo>
                  <a:pt x="3543" y="65"/>
                  <a:pt x="3543" y="65"/>
                  <a:pt x="3543" y="65"/>
                </a:cubicBezTo>
                <a:cubicBezTo>
                  <a:pt x="3463" y="213"/>
                  <a:pt x="3463" y="213"/>
                  <a:pt x="3463" y="213"/>
                </a:cubicBezTo>
                <a:lnTo>
                  <a:pt x="3626" y="213"/>
                </a:lnTo>
                <a:close/>
                <a:moveTo>
                  <a:pt x="7676" y="202"/>
                </a:moveTo>
                <a:cubicBezTo>
                  <a:pt x="7848" y="202"/>
                  <a:pt x="7848" y="202"/>
                  <a:pt x="7848" y="202"/>
                </a:cubicBezTo>
                <a:cubicBezTo>
                  <a:pt x="7848" y="141"/>
                  <a:pt x="7848" y="141"/>
                  <a:pt x="7848" y="141"/>
                </a:cubicBezTo>
                <a:cubicBezTo>
                  <a:pt x="7676" y="141"/>
                  <a:pt x="7676" y="141"/>
                  <a:pt x="7676" y="141"/>
                </a:cubicBezTo>
                <a:cubicBezTo>
                  <a:pt x="7676" y="63"/>
                  <a:pt x="7676" y="63"/>
                  <a:pt x="7676" y="63"/>
                </a:cubicBezTo>
                <a:cubicBezTo>
                  <a:pt x="7971" y="63"/>
                  <a:pt x="7971" y="63"/>
                  <a:pt x="7971" y="63"/>
                </a:cubicBezTo>
                <a:cubicBezTo>
                  <a:pt x="7971" y="0"/>
                  <a:pt x="7971" y="0"/>
                  <a:pt x="7971" y="0"/>
                </a:cubicBezTo>
                <a:cubicBezTo>
                  <a:pt x="7589" y="0"/>
                  <a:pt x="7589" y="0"/>
                  <a:pt x="7589" y="0"/>
                </a:cubicBezTo>
                <a:cubicBezTo>
                  <a:pt x="7589" y="356"/>
                  <a:pt x="7589" y="356"/>
                  <a:pt x="7589" y="356"/>
                </a:cubicBezTo>
                <a:cubicBezTo>
                  <a:pt x="7975" y="356"/>
                  <a:pt x="7975" y="356"/>
                  <a:pt x="7975" y="356"/>
                </a:cubicBezTo>
                <a:cubicBezTo>
                  <a:pt x="7975" y="290"/>
                  <a:pt x="7975" y="290"/>
                  <a:pt x="7975" y="290"/>
                </a:cubicBezTo>
                <a:cubicBezTo>
                  <a:pt x="7676" y="290"/>
                  <a:pt x="7676" y="290"/>
                  <a:pt x="7676" y="290"/>
                </a:cubicBezTo>
                <a:lnTo>
                  <a:pt x="7676" y="202"/>
                </a:lnTo>
                <a:close/>
                <a:moveTo>
                  <a:pt x="4164" y="221"/>
                </a:moveTo>
                <a:cubicBezTo>
                  <a:pt x="4334" y="356"/>
                  <a:pt x="4334" y="356"/>
                  <a:pt x="4334" y="356"/>
                </a:cubicBezTo>
                <a:cubicBezTo>
                  <a:pt x="4209" y="356"/>
                  <a:pt x="4209" y="356"/>
                  <a:pt x="4209" y="356"/>
                </a:cubicBezTo>
                <a:cubicBezTo>
                  <a:pt x="4060" y="221"/>
                  <a:pt x="4060" y="221"/>
                  <a:pt x="4060" y="221"/>
                </a:cubicBezTo>
                <a:cubicBezTo>
                  <a:pt x="3978" y="221"/>
                  <a:pt x="3978" y="221"/>
                  <a:pt x="3978" y="221"/>
                </a:cubicBezTo>
                <a:cubicBezTo>
                  <a:pt x="3978" y="356"/>
                  <a:pt x="3978" y="356"/>
                  <a:pt x="3978" y="356"/>
                </a:cubicBezTo>
                <a:cubicBezTo>
                  <a:pt x="3892" y="356"/>
                  <a:pt x="3892" y="356"/>
                  <a:pt x="3892" y="356"/>
                </a:cubicBezTo>
                <a:cubicBezTo>
                  <a:pt x="3892" y="0"/>
                  <a:pt x="3892" y="0"/>
                  <a:pt x="3892" y="0"/>
                </a:cubicBezTo>
                <a:cubicBezTo>
                  <a:pt x="4213" y="0"/>
                  <a:pt x="4213" y="0"/>
                  <a:pt x="4213" y="0"/>
                </a:cubicBezTo>
                <a:cubicBezTo>
                  <a:pt x="4270" y="0"/>
                  <a:pt x="4296" y="19"/>
                  <a:pt x="4296" y="69"/>
                </a:cubicBezTo>
                <a:cubicBezTo>
                  <a:pt x="4296" y="153"/>
                  <a:pt x="4296" y="153"/>
                  <a:pt x="4296" y="153"/>
                </a:cubicBezTo>
                <a:cubicBezTo>
                  <a:pt x="4296" y="202"/>
                  <a:pt x="4270" y="221"/>
                  <a:pt x="4213" y="221"/>
                </a:cubicBezTo>
                <a:lnTo>
                  <a:pt x="4164" y="221"/>
                </a:lnTo>
                <a:close/>
                <a:moveTo>
                  <a:pt x="4176" y="160"/>
                </a:moveTo>
                <a:cubicBezTo>
                  <a:pt x="4202" y="160"/>
                  <a:pt x="4216" y="155"/>
                  <a:pt x="4216" y="131"/>
                </a:cubicBezTo>
                <a:cubicBezTo>
                  <a:pt x="4216" y="90"/>
                  <a:pt x="4216" y="90"/>
                  <a:pt x="4216" y="90"/>
                </a:cubicBezTo>
                <a:cubicBezTo>
                  <a:pt x="4216" y="67"/>
                  <a:pt x="4202" y="61"/>
                  <a:pt x="4176" y="61"/>
                </a:cubicBezTo>
                <a:cubicBezTo>
                  <a:pt x="3978" y="61"/>
                  <a:pt x="3978" y="61"/>
                  <a:pt x="3978" y="61"/>
                </a:cubicBezTo>
                <a:cubicBezTo>
                  <a:pt x="3978" y="160"/>
                  <a:pt x="3978" y="160"/>
                  <a:pt x="3978" y="160"/>
                </a:cubicBezTo>
                <a:lnTo>
                  <a:pt x="4176" y="160"/>
                </a:lnTo>
                <a:close/>
                <a:moveTo>
                  <a:pt x="3015" y="0"/>
                </a:moveTo>
                <a:cubicBezTo>
                  <a:pt x="3230" y="356"/>
                  <a:pt x="3230" y="356"/>
                  <a:pt x="3230" y="356"/>
                </a:cubicBezTo>
                <a:cubicBezTo>
                  <a:pt x="3132" y="356"/>
                  <a:pt x="3132" y="356"/>
                  <a:pt x="3132" y="356"/>
                </a:cubicBezTo>
                <a:cubicBezTo>
                  <a:pt x="3088" y="278"/>
                  <a:pt x="3088" y="278"/>
                  <a:pt x="3088" y="278"/>
                </a:cubicBezTo>
                <a:cubicBezTo>
                  <a:pt x="2852" y="278"/>
                  <a:pt x="2852" y="278"/>
                  <a:pt x="2852" y="278"/>
                </a:cubicBezTo>
                <a:cubicBezTo>
                  <a:pt x="2807" y="356"/>
                  <a:pt x="2807" y="356"/>
                  <a:pt x="2807" y="356"/>
                </a:cubicBezTo>
                <a:cubicBezTo>
                  <a:pt x="2721" y="356"/>
                  <a:pt x="2721" y="356"/>
                  <a:pt x="2721" y="356"/>
                </a:cubicBezTo>
                <a:cubicBezTo>
                  <a:pt x="2932" y="0"/>
                  <a:pt x="2932" y="0"/>
                  <a:pt x="2932" y="0"/>
                </a:cubicBezTo>
                <a:lnTo>
                  <a:pt x="3015" y="0"/>
                </a:lnTo>
                <a:close/>
                <a:moveTo>
                  <a:pt x="3052" y="213"/>
                </a:moveTo>
                <a:cubicBezTo>
                  <a:pt x="2969" y="65"/>
                  <a:pt x="2969" y="65"/>
                  <a:pt x="2969" y="65"/>
                </a:cubicBezTo>
                <a:cubicBezTo>
                  <a:pt x="2889" y="213"/>
                  <a:pt x="2889" y="213"/>
                  <a:pt x="2889" y="213"/>
                </a:cubicBezTo>
                <a:lnTo>
                  <a:pt x="3052" y="213"/>
                </a:lnTo>
                <a:close/>
                <a:moveTo>
                  <a:pt x="7046" y="64"/>
                </a:moveTo>
                <a:cubicBezTo>
                  <a:pt x="7217" y="64"/>
                  <a:pt x="7217" y="64"/>
                  <a:pt x="7217" y="64"/>
                </a:cubicBezTo>
                <a:cubicBezTo>
                  <a:pt x="7217" y="356"/>
                  <a:pt x="7217" y="356"/>
                  <a:pt x="7217" y="356"/>
                </a:cubicBezTo>
                <a:cubicBezTo>
                  <a:pt x="7304" y="356"/>
                  <a:pt x="7304" y="356"/>
                  <a:pt x="7304" y="356"/>
                </a:cubicBezTo>
                <a:cubicBezTo>
                  <a:pt x="7304" y="64"/>
                  <a:pt x="7304" y="64"/>
                  <a:pt x="7304" y="64"/>
                </a:cubicBezTo>
                <a:cubicBezTo>
                  <a:pt x="7477" y="64"/>
                  <a:pt x="7477" y="64"/>
                  <a:pt x="7477" y="64"/>
                </a:cubicBezTo>
                <a:cubicBezTo>
                  <a:pt x="7477" y="0"/>
                  <a:pt x="7477" y="0"/>
                  <a:pt x="7477" y="0"/>
                </a:cubicBezTo>
                <a:cubicBezTo>
                  <a:pt x="7046" y="0"/>
                  <a:pt x="7046" y="0"/>
                  <a:pt x="7046" y="0"/>
                </a:cubicBezTo>
                <a:lnTo>
                  <a:pt x="704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1" name="Rectangle 8"/>
          <p:cNvSpPr>
            <a:spLocks noSelect="1" noChangeArrowheads="1"/>
          </p:cNvSpPr>
          <p:nvPr userDrawn="1"/>
        </p:nvSpPr>
        <p:spPr bwMode="gray">
          <a:xfrm>
            <a:off x="0" y="3429000"/>
            <a:ext cx="12189600" cy="3429000"/>
          </a:xfrm>
          <a:prstGeom prst="rect">
            <a:avLst/>
          </a:prstGeom>
          <a:solidFill>
            <a:schemeClr val="accent1"/>
          </a:solidFill>
          <a:ln>
            <a:noFill/>
          </a:ln>
          <a:effectLst/>
        </p:spPr>
        <p:txBody>
          <a:bodyPr wrap="none" anchor="ctr"/>
          <a:lstStyle/>
          <a:p>
            <a:pPr eaLnBrk="1" hangingPunct="1">
              <a:defRPr/>
            </a:pPr>
            <a:endParaRPr lang="nl-NL" sz="2142" dirty="0">
              <a:latin typeface="Arial Black" charset="0"/>
            </a:endParaRPr>
          </a:p>
        </p:txBody>
      </p:sp>
      <p:sp>
        <p:nvSpPr>
          <p:cNvPr id="2" name="***Titel 1"/>
          <p:cNvSpPr>
            <a:spLocks noGrp="1" noSelect="1"/>
          </p:cNvSpPr>
          <p:nvPr>
            <p:ph type="ctrTitle" hasCustomPrompt="1"/>
          </p:nvPr>
        </p:nvSpPr>
        <p:spPr bwMode="gray">
          <a:xfrm>
            <a:off x="1080000" y="3913999"/>
            <a:ext cx="10040516" cy="685952"/>
          </a:xfrm>
        </p:spPr>
        <p:txBody>
          <a:bodyPr anchor="t" anchorCtr="0"/>
          <a:lstStyle>
            <a:lvl1pPr algn="l">
              <a:defRPr sz="3600">
                <a:solidFill>
                  <a:schemeClr val="tx1"/>
                </a:solidFill>
              </a:defRPr>
            </a:lvl1pPr>
          </a:lstStyle>
          <a:p>
            <a:r>
              <a:rPr lang="nl-NL" noProof="1"/>
              <a:t>[Titel]</a:t>
            </a:r>
          </a:p>
        </p:txBody>
      </p:sp>
      <p:sp>
        <p:nvSpPr>
          <p:cNvPr id="3" name="Ondertitel 2"/>
          <p:cNvSpPr>
            <a:spLocks noGrp="1" noSelect="1"/>
          </p:cNvSpPr>
          <p:nvPr>
            <p:ph type="subTitle" idx="1" hasCustomPrompt="1"/>
          </p:nvPr>
        </p:nvSpPr>
        <p:spPr bwMode="gray">
          <a:xfrm>
            <a:off x="1080000" y="4863460"/>
            <a:ext cx="10029243" cy="546598"/>
          </a:xfrm>
        </p:spPr>
        <p:txBody>
          <a:bodyPr/>
          <a:lstStyle>
            <a:lvl1pPr marL="0" indent="0" algn="l">
              <a:buNone/>
              <a:defRPr>
                <a:solidFill>
                  <a:schemeClr val="tx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nl-NL" noProof="1"/>
              <a:t>[Subtitel]</a:t>
            </a:r>
          </a:p>
        </p:txBody>
      </p:sp>
      <p:sp>
        <p:nvSpPr>
          <p:cNvPr id="14" name="Tijdelijke aanduiding voor datum 13"/>
          <p:cNvSpPr>
            <a:spLocks noGrp="1" noSelect="1"/>
          </p:cNvSpPr>
          <p:nvPr>
            <p:ph type="dt" sz="half" idx="10"/>
          </p:nvPr>
        </p:nvSpPr>
        <p:spPr bwMode="gray"/>
        <p:txBody>
          <a:bodyPr/>
          <a:lstStyle/>
          <a:p>
            <a:fld id="{7BB60F3E-2C73-40A8-B0AB-89D26A81596F}" type="datetime4">
              <a:rPr lang="nl-NL" noProof="1" smtClean="0"/>
              <a:t>22 september 2022</a:t>
            </a:fld>
            <a:endParaRPr lang="nl-NL" noProof="1"/>
          </a:p>
        </p:txBody>
      </p:sp>
      <p:sp>
        <p:nvSpPr>
          <p:cNvPr id="4" name="Tijdelijke aanduiding voor voettekst 3"/>
          <p:cNvSpPr>
            <a:spLocks noGrp="1" noSelect="1"/>
          </p:cNvSpPr>
          <p:nvPr>
            <p:ph type="ftr" sz="quarter" idx="11"/>
          </p:nvPr>
        </p:nvSpPr>
        <p:spPr>
          <a:xfrm>
            <a:off x="1080000" y="2217600"/>
            <a:ext cx="10080000" cy="307765"/>
          </a:xfrm>
        </p:spPr>
        <p:txBody>
          <a:bodyPr/>
          <a:lstStyle/>
          <a:p>
            <a:r>
              <a:rPr lang="nl-NL" noProof="1"/>
              <a:t>[Plaats hier de aanduiding van het OM onderdeel]</a:t>
            </a:r>
          </a:p>
        </p:txBody>
      </p:sp>
      <p:sp>
        <p:nvSpPr>
          <p:cNvPr id="5" name="Rechthoek 4"/>
          <p:cNvSpPr>
            <a:spLocks noSelect="1"/>
          </p:cNvSpPr>
          <p:nvPr userDrawn="1"/>
        </p:nvSpPr>
        <p:spPr>
          <a:xfrm>
            <a:off x="-1285778" y="189362"/>
            <a:ext cx="1170156" cy="2520336"/>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nl-NL" sz="1000" dirty="0">
                <a:solidFill>
                  <a:schemeClr val="tx1"/>
                </a:solidFill>
              </a:rPr>
              <a:t>Via Invoegen | Koptekst en voettekst kan de datum, paginanummer en aanduiding</a:t>
            </a:r>
            <a:r>
              <a:rPr lang="nl-NL" sz="1000" baseline="0" dirty="0">
                <a:solidFill>
                  <a:schemeClr val="tx1"/>
                </a:solidFill>
              </a:rPr>
              <a:t> van het OM onderdeel geplaatst worden.</a:t>
            </a:r>
          </a:p>
          <a:p>
            <a:pPr algn="l"/>
            <a:endParaRPr lang="nl-NL" sz="1000" baseline="0" dirty="0">
              <a:solidFill>
                <a:schemeClr val="tx1"/>
              </a:solidFill>
            </a:endParaRPr>
          </a:p>
          <a:p>
            <a:pPr algn="l"/>
            <a:r>
              <a:rPr lang="nl-NL" sz="1000" baseline="0" dirty="0">
                <a:solidFill>
                  <a:schemeClr val="tx1"/>
                </a:solidFill>
              </a:rPr>
              <a:t>Dit instructie vak is niet te zien tijdens de presentatie.</a:t>
            </a:r>
            <a:endParaRPr lang="nl-NL" sz="1000" dirty="0">
              <a:solidFill>
                <a:schemeClr val="tx1"/>
              </a:solidFill>
            </a:endParaRPr>
          </a:p>
        </p:txBody>
      </p:sp>
      <p:sp>
        <p:nvSpPr>
          <p:cNvPr id="8" name="***Spreker"/>
          <p:cNvSpPr>
            <a:spLocks noGrp="1" noSelect="1"/>
          </p:cNvSpPr>
          <p:nvPr>
            <p:ph type="body" sz="quarter" idx="12" hasCustomPrompt="1"/>
          </p:nvPr>
        </p:nvSpPr>
        <p:spPr>
          <a:xfrm>
            <a:off x="1080000" y="720000"/>
            <a:ext cx="10080000" cy="457200"/>
          </a:xfrm>
        </p:spPr>
        <p:txBody>
          <a:bodyPr/>
          <a:lstStyle>
            <a:lvl1pPr marL="0" indent="0">
              <a:spcBef>
                <a:spcPts val="0"/>
              </a:spcBef>
              <a:spcAft>
                <a:spcPts val="0"/>
              </a:spcAft>
              <a:buNone/>
              <a:defRPr b="1" i="0"/>
            </a:lvl1pPr>
            <a:lvl2pPr marL="0" indent="0">
              <a:spcBef>
                <a:spcPts val="0"/>
              </a:spcBef>
              <a:spcAft>
                <a:spcPts val="0"/>
              </a:spcAft>
              <a:buNone/>
              <a:defRPr b="1" i="0"/>
            </a:lvl2pPr>
            <a:lvl3pPr marL="0" indent="0">
              <a:spcBef>
                <a:spcPts val="0"/>
              </a:spcBef>
              <a:spcAft>
                <a:spcPts val="0"/>
              </a:spcAft>
              <a:buNone/>
              <a:defRPr b="1" i="0"/>
            </a:lvl3pPr>
            <a:lvl4pPr marL="0" indent="0">
              <a:spcBef>
                <a:spcPts val="0"/>
              </a:spcBef>
              <a:spcAft>
                <a:spcPts val="0"/>
              </a:spcAft>
              <a:buFont typeface="Arial" panose="020B0604020202020204" pitchFamily="34" charset="0"/>
              <a:buNone/>
              <a:defRPr b="1" i="0"/>
            </a:lvl4pPr>
            <a:lvl5pPr marL="0" indent="0">
              <a:spcBef>
                <a:spcPts val="0"/>
              </a:spcBef>
              <a:spcAft>
                <a:spcPts val="0"/>
              </a:spcAft>
              <a:buFont typeface="Arial" panose="020B0604020202020204" pitchFamily="34" charset="0"/>
              <a:buNone/>
              <a:defRPr b="1" i="0"/>
            </a:lvl5pPr>
            <a:lvl6pPr marL="0" indent="0">
              <a:spcBef>
                <a:spcPts val="0"/>
              </a:spcBef>
              <a:spcAft>
                <a:spcPts val="0"/>
              </a:spcAft>
              <a:buFont typeface="Arial" panose="020B0604020202020204" pitchFamily="34" charset="0"/>
              <a:buNone/>
              <a:defRPr b="1" i="0"/>
            </a:lvl6pPr>
            <a:lvl7pPr marL="0" indent="0">
              <a:spcBef>
                <a:spcPts val="0"/>
              </a:spcBef>
              <a:spcAft>
                <a:spcPts val="0"/>
              </a:spcAft>
              <a:buFont typeface="Arial" panose="020B0604020202020204" pitchFamily="34" charset="0"/>
              <a:buNone/>
              <a:defRPr b="1" i="0"/>
            </a:lvl7pPr>
            <a:lvl8pPr marL="0" indent="0">
              <a:spcBef>
                <a:spcPts val="0"/>
              </a:spcBef>
              <a:spcAft>
                <a:spcPts val="0"/>
              </a:spcAft>
              <a:buFont typeface="Arial" panose="020B0604020202020204" pitchFamily="34" charset="0"/>
              <a:buNone/>
              <a:defRPr b="1" i="0"/>
            </a:lvl8pPr>
            <a:lvl9pPr marL="0" indent="0">
              <a:spcBef>
                <a:spcPts val="0"/>
              </a:spcBef>
              <a:spcAft>
                <a:spcPts val="0"/>
              </a:spcAft>
              <a:buFont typeface="Arial" panose="020B0604020202020204" pitchFamily="34" charset="0"/>
              <a:buNone/>
              <a:defRPr b="1" i="0"/>
            </a:lvl9pPr>
          </a:lstStyle>
          <a:p>
            <a:pPr lvl="0"/>
            <a:r>
              <a:rPr lang="nl-NL" dirty="0"/>
              <a:t>[Naam spreker]</a:t>
            </a:r>
          </a:p>
          <a:p>
            <a:pPr lvl="0"/>
            <a:endParaRPr lang="nl-NL" dirty="0"/>
          </a:p>
        </p:txBody>
      </p:sp>
    </p:spTree>
    <p:extLst>
      <p:ext uri="{BB962C8B-B14F-4D97-AF65-F5344CB8AC3E}">
        <p14:creationId xmlns:p14="http://schemas.microsoft.com/office/powerpoint/2010/main" val="4661308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el en kader">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p>
            <a:r>
              <a:rPr lang="nl-NL" noProof="1"/>
              <a:t>[Titel]</a:t>
            </a:r>
          </a:p>
        </p:txBody>
      </p:sp>
      <p:sp>
        <p:nvSpPr>
          <p:cNvPr id="3" name="Tijdelijke aanduiding voor inhoud 2"/>
          <p:cNvSpPr>
            <a:spLocks noGrp="1" noSelect="1"/>
          </p:cNvSpPr>
          <p:nvPr>
            <p:ph idx="1" hasCustomPrompt="1"/>
          </p:nvPr>
        </p:nvSpPr>
        <p:spPr bwMode="gray"/>
        <p:txBody>
          <a:bodyPr/>
          <a:lstStyle>
            <a:lvl1pPr>
              <a:defRPr baseline="0"/>
            </a:lvl1pPr>
          </a:lstStyle>
          <a:p>
            <a:pPr lvl="0"/>
            <a:r>
              <a:rPr lang="nl-NL" noProof="1"/>
              <a:t>[Typ tekst of klik op een pictogram om een object in te voegen]</a:t>
            </a:r>
          </a:p>
        </p:txBody>
      </p:sp>
      <p:sp>
        <p:nvSpPr>
          <p:cNvPr id="5" name="Tijdelijke aanduiding voor datum 4"/>
          <p:cNvSpPr>
            <a:spLocks noGrp="1" noSelect="1"/>
          </p:cNvSpPr>
          <p:nvPr>
            <p:ph type="dt" sz="half" idx="10"/>
          </p:nvPr>
        </p:nvSpPr>
        <p:spPr bwMode="gray"/>
        <p:txBody>
          <a:bodyPr/>
          <a:lstStyle/>
          <a:p>
            <a:fld id="{B053C1B9-E9D2-433D-9781-3485AA40C026}" type="datetime4">
              <a:rPr lang="nl-NL" noProof="1" smtClean="0"/>
              <a:t>22 september 2022</a:t>
            </a:fld>
            <a:endParaRPr lang="nl-NL" noProof="1"/>
          </a:p>
        </p:txBody>
      </p:sp>
      <p:sp>
        <p:nvSpPr>
          <p:cNvPr id="6" name="Tijdelijke aanduiding voor voettekst 5"/>
          <p:cNvSpPr>
            <a:spLocks noGrp="1" noSelect="1"/>
          </p:cNvSpPr>
          <p:nvPr>
            <p:ph type="ftr" sz="quarter" idx="11"/>
          </p:nvPr>
        </p:nvSpPr>
        <p:spPr bwMode="gray"/>
        <p:txBody>
          <a:bodyPr/>
          <a:lstStyle/>
          <a:p>
            <a:r>
              <a:rPr lang="nl-NL" noProof="1"/>
              <a:t>[Plaats hier de aanduiding van het OM onderdeel]</a:t>
            </a:r>
          </a:p>
        </p:txBody>
      </p:sp>
      <p:sp>
        <p:nvSpPr>
          <p:cNvPr id="7" name="Tijdelijke aanduiding voor dianummer 6"/>
          <p:cNvSpPr>
            <a:spLocks noGrp="1" noSelect="1"/>
          </p:cNvSpPr>
          <p:nvPr>
            <p:ph type="sldNum" sz="quarter" idx="12"/>
          </p:nvPr>
        </p:nvSpPr>
        <p:spPr bwMode="gray"/>
        <p:txBody>
          <a:bodyPr/>
          <a:lstStyle/>
          <a:p>
            <a:r>
              <a:rPr lang="nl-NL" noProof="1"/>
              <a:t>pagina </a:t>
            </a:r>
            <a:fld id="{1336C48C-F87C-4E4B-81EF-5027B17D1F61}" type="slidenum">
              <a:rPr lang="nl-NL" noProof="1" smtClean="0"/>
              <a:pPr/>
              <a:t>‹nr.›</a:t>
            </a:fld>
            <a:endParaRPr lang="nl-NL" noProof="1"/>
          </a:p>
        </p:txBody>
      </p:sp>
    </p:spTree>
    <p:extLst>
      <p:ext uri="{BB962C8B-B14F-4D97-AF65-F5344CB8AC3E}">
        <p14:creationId xmlns:p14="http://schemas.microsoft.com/office/powerpoint/2010/main" val="15771634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dia met fotovak">
    <p:spTree>
      <p:nvGrpSpPr>
        <p:cNvPr id="1" name=""/>
        <p:cNvGrpSpPr/>
        <p:nvPr/>
      </p:nvGrpSpPr>
      <p:grpSpPr>
        <a:xfrm>
          <a:off x="0" y="0"/>
          <a:ext cx="0" cy="0"/>
          <a:chOff x="0" y="0"/>
          <a:chExt cx="0" cy="0"/>
        </a:xfrm>
      </p:grpSpPr>
      <p:sp>
        <p:nvSpPr>
          <p:cNvPr id="8" name="Tijdelijke aanduiding voor afbeelding 7"/>
          <p:cNvSpPr>
            <a:spLocks noGrp="1" noSelect="1"/>
          </p:cNvSpPr>
          <p:nvPr>
            <p:ph type="pic" sz="quarter" idx="13" hasCustomPrompt="1"/>
          </p:nvPr>
        </p:nvSpPr>
        <p:spPr bwMode="gray">
          <a:xfrm>
            <a:off x="0" y="3430588"/>
            <a:ext cx="12188825" cy="3429000"/>
          </a:xfrm>
          <a:blipFill dpi="0" rotWithShape="1">
            <a:blip r:embed="rId2"/>
            <a:srcRect/>
            <a:stretch>
              <a:fillRect l="-1000" t="-8000" r="-2000"/>
            </a:stretch>
          </a:blipFill>
        </p:spPr>
        <p:txBody>
          <a:bodyPr/>
          <a:lstStyle>
            <a:lvl1pPr marL="0" indent="0">
              <a:buNone/>
              <a:defRPr/>
            </a:lvl1pPr>
          </a:lstStyle>
          <a:p>
            <a:r>
              <a:rPr lang="nl-NL" dirty="0"/>
              <a:t>[Klik op het pictogram om een afbeelding in te voegen]</a:t>
            </a:r>
          </a:p>
        </p:txBody>
      </p:sp>
      <p:sp>
        <p:nvSpPr>
          <p:cNvPr id="10" name="Rectangle 3"/>
          <p:cNvSpPr>
            <a:spLocks noSelect="1" noChangeArrowheads="1"/>
          </p:cNvSpPr>
          <p:nvPr userDrawn="1"/>
        </p:nvSpPr>
        <p:spPr bwMode="gray">
          <a:xfrm>
            <a:off x="0" y="0"/>
            <a:ext cx="12189600" cy="1709738"/>
          </a:xfrm>
          <a:prstGeom prst="rect">
            <a:avLst/>
          </a:prstGeom>
          <a:solidFill>
            <a:srgbClr val="91D2F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1" hangingPunct="1">
              <a:defRPr/>
            </a:pPr>
            <a:endParaRPr lang="nl-NL" dirty="0">
              <a:latin typeface="Arial Black" charset="0"/>
            </a:endParaRPr>
          </a:p>
        </p:txBody>
      </p:sp>
      <p:sp>
        <p:nvSpPr>
          <p:cNvPr id="15" name="Rechthoek 14"/>
          <p:cNvSpPr>
            <a:spLocks noSelect="1"/>
          </p:cNvSpPr>
          <p:nvPr userDrawn="1"/>
        </p:nvSpPr>
        <p:spPr bwMode="gray">
          <a:xfrm>
            <a:off x="0" y="1710000"/>
            <a:ext cx="12189600" cy="450000"/>
          </a:xfrm>
          <a:prstGeom prst="rect">
            <a:avLst/>
          </a:prstGeom>
          <a:solidFill>
            <a:srgbClr val="001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0" name="Freeform 5"/>
          <p:cNvSpPr>
            <a:spLocks noSelect="1"/>
          </p:cNvSpPr>
          <p:nvPr userDrawn="1"/>
        </p:nvSpPr>
        <p:spPr bwMode="gray">
          <a:xfrm>
            <a:off x="1089025" y="1876425"/>
            <a:ext cx="2944813" cy="114300"/>
          </a:xfrm>
          <a:custGeom>
            <a:avLst/>
            <a:gdLst>
              <a:gd name="T0" fmla="*/ 6618 w 9279"/>
              <a:gd name="T1" fmla="*/ 356 h 356"/>
              <a:gd name="T2" fmla="*/ 6602 w 9279"/>
              <a:gd name="T3" fmla="*/ 290 h 356"/>
              <a:gd name="T4" fmla="*/ 6540 w 9279"/>
              <a:gd name="T5" fmla="*/ 124 h 356"/>
              <a:gd name="T6" fmla="*/ 6938 w 9279"/>
              <a:gd name="T7" fmla="*/ 78 h 356"/>
              <a:gd name="T8" fmla="*/ 6618 w 9279"/>
              <a:gd name="T9" fmla="*/ 64 h 356"/>
              <a:gd name="T10" fmla="*/ 8373 w 9279"/>
              <a:gd name="T11" fmla="*/ 222 h 356"/>
              <a:gd name="T12" fmla="*/ 8186 w 9279"/>
              <a:gd name="T13" fmla="*/ 222 h 356"/>
              <a:gd name="T14" fmla="*/ 8421 w 9279"/>
              <a:gd name="T15" fmla="*/ 0 h 356"/>
              <a:gd name="T16" fmla="*/ 8373 w 9279"/>
              <a:gd name="T17" fmla="*/ 222 h 356"/>
              <a:gd name="T18" fmla="*/ 8384 w 9279"/>
              <a:gd name="T19" fmla="*/ 61 h 356"/>
              <a:gd name="T20" fmla="*/ 2014 w 9279"/>
              <a:gd name="T21" fmla="*/ 237 h 356"/>
              <a:gd name="T22" fmla="*/ 1731 w 9279"/>
              <a:gd name="T23" fmla="*/ 356 h 356"/>
              <a:gd name="T24" fmla="*/ 2092 w 9279"/>
              <a:gd name="T25" fmla="*/ 0 h 356"/>
              <a:gd name="T26" fmla="*/ 2643 w 9279"/>
              <a:gd name="T27" fmla="*/ 286 h 356"/>
              <a:gd name="T28" fmla="*/ 2556 w 9279"/>
              <a:gd name="T29" fmla="*/ 0 h 356"/>
              <a:gd name="T30" fmla="*/ 2643 w 9279"/>
              <a:gd name="T31" fmla="*/ 241 h 356"/>
              <a:gd name="T32" fmla="*/ 2555 w 9279"/>
              <a:gd name="T33" fmla="*/ 83 h 356"/>
              <a:gd name="T34" fmla="*/ 2559 w 9279"/>
              <a:gd name="T35" fmla="*/ 233 h 356"/>
              <a:gd name="T36" fmla="*/ 2517 w 9279"/>
              <a:gd name="T37" fmla="*/ 292 h 356"/>
              <a:gd name="T38" fmla="*/ 8980 w 9279"/>
              <a:gd name="T39" fmla="*/ 202 h 356"/>
              <a:gd name="T40" fmla="*/ 8980 w 9279"/>
              <a:gd name="T41" fmla="*/ 63 h 356"/>
              <a:gd name="T42" fmla="*/ 8893 w 9279"/>
              <a:gd name="T43" fmla="*/ 356 h 356"/>
              <a:gd name="T44" fmla="*/ 1227 w 9279"/>
              <a:gd name="T45" fmla="*/ 202 h 356"/>
              <a:gd name="T46" fmla="*/ 1227 w 9279"/>
              <a:gd name="T47" fmla="*/ 63 h 356"/>
              <a:gd name="T48" fmla="*/ 1140 w 9279"/>
              <a:gd name="T49" fmla="*/ 356 h 356"/>
              <a:gd name="T50" fmla="*/ 1227 w 9279"/>
              <a:gd name="T51" fmla="*/ 202 h 356"/>
              <a:gd name="T52" fmla="*/ 93 w 9279"/>
              <a:gd name="T53" fmla="*/ 356 h 356"/>
              <a:gd name="T54" fmla="*/ 368 w 9279"/>
              <a:gd name="T55" fmla="*/ 0 h 356"/>
              <a:gd name="T56" fmla="*/ 87 w 9279"/>
              <a:gd name="T57" fmla="*/ 288 h 356"/>
              <a:gd name="T58" fmla="*/ 1015 w 9279"/>
              <a:gd name="T59" fmla="*/ 148 h 356"/>
              <a:gd name="T60" fmla="*/ 611 w 9279"/>
              <a:gd name="T61" fmla="*/ 356 h 356"/>
              <a:gd name="T62" fmla="*/ 934 w 9279"/>
              <a:gd name="T63" fmla="*/ 90 h 356"/>
              <a:gd name="T64" fmla="*/ 895 w 9279"/>
              <a:gd name="T65" fmla="*/ 156 h 356"/>
              <a:gd name="T66" fmla="*/ 8735 w 9279"/>
              <a:gd name="T67" fmla="*/ 356 h 356"/>
              <a:gd name="T68" fmla="*/ 6051 w 9279"/>
              <a:gd name="T69" fmla="*/ 237 h 356"/>
              <a:gd name="T70" fmla="*/ 5768 w 9279"/>
              <a:gd name="T71" fmla="*/ 356 h 356"/>
              <a:gd name="T72" fmla="*/ 6129 w 9279"/>
              <a:gd name="T73" fmla="*/ 0 h 356"/>
              <a:gd name="T74" fmla="*/ 5444 w 9279"/>
              <a:gd name="T75" fmla="*/ 178 h 356"/>
              <a:gd name="T76" fmla="*/ 5531 w 9279"/>
              <a:gd name="T77" fmla="*/ 178 h 356"/>
              <a:gd name="T78" fmla="*/ 6288 w 9279"/>
              <a:gd name="T79" fmla="*/ 356 h 356"/>
              <a:gd name="T80" fmla="*/ 6288 w 9279"/>
              <a:gd name="T81" fmla="*/ 356 h 356"/>
              <a:gd name="T82" fmla="*/ 4798 w 9279"/>
              <a:gd name="T83" fmla="*/ 356 h 356"/>
              <a:gd name="T84" fmla="*/ 5046 w 9279"/>
              <a:gd name="T85" fmla="*/ 313 h 356"/>
              <a:gd name="T86" fmla="*/ 5286 w 9279"/>
              <a:gd name="T87" fmla="*/ 0 h 356"/>
              <a:gd name="T88" fmla="*/ 3804 w 9279"/>
              <a:gd name="T89" fmla="*/ 356 h 356"/>
              <a:gd name="T90" fmla="*/ 3381 w 9279"/>
              <a:gd name="T91" fmla="*/ 356 h 356"/>
              <a:gd name="T92" fmla="*/ 3626 w 9279"/>
              <a:gd name="T93" fmla="*/ 213 h 356"/>
              <a:gd name="T94" fmla="*/ 7676 w 9279"/>
              <a:gd name="T95" fmla="*/ 202 h 356"/>
              <a:gd name="T96" fmla="*/ 7676 w 9279"/>
              <a:gd name="T97" fmla="*/ 63 h 356"/>
              <a:gd name="T98" fmla="*/ 7589 w 9279"/>
              <a:gd name="T99" fmla="*/ 356 h 356"/>
              <a:gd name="T100" fmla="*/ 7676 w 9279"/>
              <a:gd name="T101" fmla="*/ 202 h 356"/>
              <a:gd name="T102" fmla="*/ 4060 w 9279"/>
              <a:gd name="T103" fmla="*/ 221 h 356"/>
              <a:gd name="T104" fmla="*/ 3892 w 9279"/>
              <a:gd name="T105" fmla="*/ 0 h 356"/>
              <a:gd name="T106" fmla="*/ 4213 w 9279"/>
              <a:gd name="T107" fmla="*/ 221 h 356"/>
              <a:gd name="T108" fmla="*/ 4216 w 9279"/>
              <a:gd name="T109" fmla="*/ 90 h 356"/>
              <a:gd name="T110" fmla="*/ 4176 w 9279"/>
              <a:gd name="T111" fmla="*/ 160 h 356"/>
              <a:gd name="T112" fmla="*/ 3088 w 9279"/>
              <a:gd name="T113" fmla="*/ 278 h 356"/>
              <a:gd name="T114" fmla="*/ 2932 w 9279"/>
              <a:gd name="T115" fmla="*/ 0 h 356"/>
              <a:gd name="T116" fmla="*/ 2889 w 9279"/>
              <a:gd name="T117" fmla="*/ 213 h 356"/>
              <a:gd name="T118" fmla="*/ 7217 w 9279"/>
              <a:gd name="T119" fmla="*/ 356 h 356"/>
              <a:gd name="T120" fmla="*/ 7477 w 9279"/>
              <a:gd name="T121"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79" h="356">
                <a:moveTo>
                  <a:pt x="6942" y="223"/>
                </a:moveTo>
                <a:cubicBezTo>
                  <a:pt x="6942" y="272"/>
                  <a:pt x="6942" y="272"/>
                  <a:pt x="6942" y="272"/>
                </a:cubicBezTo>
                <a:cubicBezTo>
                  <a:pt x="6942" y="339"/>
                  <a:pt x="6920" y="356"/>
                  <a:pt x="6849" y="356"/>
                </a:cubicBezTo>
                <a:cubicBezTo>
                  <a:pt x="6618" y="356"/>
                  <a:pt x="6618" y="356"/>
                  <a:pt x="6618" y="356"/>
                </a:cubicBezTo>
                <a:cubicBezTo>
                  <a:pt x="6547" y="356"/>
                  <a:pt x="6524" y="339"/>
                  <a:pt x="6524" y="272"/>
                </a:cubicBezTo>
                <a:cubicBezTo>
                  <a:pt x="6524" y="262"/>
                  <a:pt x="6524" y="262"/>
                  <a:pt x="6524" y="262"/>
                </a:cubicBezTo>
                <a:cubicBezTo>
                  <a:pt x="6602" y="248"/>
                  <a:pt x="6602" y="248"/>
                  <a:pt x="6602" y="248"/>
                </a:cubicBezTo>
                <a:cubicBezTo>
                  <a:pt x="6602" y="290"/>
                  <a:pt x="6602" y="290"/>
                  <a:pt x="6602" y="290"/>
                </a:cubicBezTo>
                <a:cubicBezTo>
                  <a:pt x="6864" y="290"/>
                  <a:pt x="6864" y="290"/>
                  <a:pt x="6864" y="290"/>
                </a:cubicBezTo>
                <a:cubicBezTo>
                  <a:pt x="6864" y="208"/>
                  <a:pt x="6864" y="208"/>
                  <a:pt x="6864" y="208"/>
                </a:cubicBezTo>
                <a:cubicBezTo>
                  <a:pt x="6633" y="208"/>
                  <a:pt x="6633" y="208"/>
                  <a:pt x="6633" y="208"/>
                </a:cubicBezTo>
                <a:cubicBezTo>
                  <a:pt x="6563" y="208"/>
                  <a:pt x="6540" y="191"/>
                  <a:pt x="6540" y="124"/>
                </a:cubicBezTo>
                <a:cubicBezTo>
                  <a:pt x="6540" y="84"/>
                  <a:pt x="6540" y="84"/>
                  <a:pt x="6540" y="84"/>
                </a:cubicBezTo>
                <a:cubicBezTo>
                  <a:pt x="6540" y="17"/>
                  <a:pt x="6563" y="0"/>
                  <a:pt x="6633" y="0"/>
                </a:cubicBezTo>
                <a:cubicBezTo>
                  <a:pt x="6844" y="0"/>
                  <a:pt x="6844" y="0"/>
                  <a:pt x="6844" y="0"/>
                </a:cubicBezTo>
                <a:cubicBezTo>
                  <a:pt x="6910" y="0"/>
                  <a:pt x="6938" y="15"/>
                  <a:pt x="6938" y="78"/>
                </a:cubicBezTo>
                <a:cubicBezTo>
                  <a:pt x="6938" y="86"/>
                  <a:pt x="6938" y="86"/>
                  <a:pt x="6938" y="86"/>
                </a:cubicBezTo>
                <a:cubicBezTo>
                  <a:pt x="6863" y="102"/>
                  <a:pt x="6863" y="102"/>
                  <a:pt x="6863" y="102"/>
                </a:cubicBezTo>
                <a:cubicBezTo>
                  <a:pt x="6863" y="64"/>
                  <a:pt x="6863" y="64"/>
                  <a:pt x="6863" y="64"/>
                </a:cubicBezTo>
                <a:cubicBezTo>
                  <a:pt x="6618" y="64"/>
                  <a:pt x="6618" y="64"/>
                  <a:pt x="6618" y="64"/>
                </a:cubicBezTo>
                <a:cubicBezTo>
                  <a:pt x="6618" y="139"/>
                  <a:pt x="6618" y="139"/>
                  <a:pt x="6618" y="139"/>
                </a:cubicBezTo>
                <a:cubicBezTo>
                  <a:pt x="6849" y="139"/>
                  <a:pt x="6849" y="139"/>
                  <a:pt x="6849" y="139"/>
                </a:cubicBezTo>
                <a:cubicBezTo>
                  <a:pt x="6920" y="139"/>
                  <a:pt x="6942" y="156"/>
                  <a:pt x="6942" y="223"/>
                </a:cubicBezTo>
                <a:close/>
                <a:moveTo>
                  <a:pt x="8373" y="222"/>
                </a:moveTo>
                <a:cubicBezTo>
                  <a:pt x="8542" y="356"/>
                  <a:pt x="8542" y="356"/>
                  <a:pt x="8542" y="356"/>
                </a:cubicBezTo>
                <a:cubicBezTo>
                  <a:pt x="8417" y="356"/>
                  <a:pt x="8417" y="356"/>
                  <a:pt x="8417" y="356"/>
                </a:cubicBezTo>
                <a:cubicBezTo>
                  <a:pt x="8268" y="222"/>
                  <a:pt x="8268" y="222"/>
                  <a:pt x="8268" y="222"/>
                </a:cubicBezTo>
                <a:cubicBezTo>
                  <a:pt x="8186" y="222"/>
                  <a:pt x="8186" y="222"/>
                  <a:pt x="8186" y="222"/>
                </a:cubicBezTo>
                <a:cubicBezTo>
                  <a:pt x="8186" y="356"/>
                  <a:pt x="8186" y="356"/>
                  <a:pt x="8186" y="356"/>
                </a:cubicBezTo>
                <a:cubicBezTo>
                  <a:pt x="8101" y="356"/>
                  <a:pt x="8101" y="356"/>
                  <a:pt x="8101" y="356"/>
                </a:cubicBezTo>
                <a:cubicBezTo>
                  <a:pt x="8101" y="0"/>
                  <a:pt x="8101" y="0"/>
                  <a:pt x="8101" y="0"/>
                </a:cubicBezTo>
                <a:cubicBezTo>
                  <a:pt x="8421" y="0"/>
                  <a:pt x="8421" y="0"/>
                  <a:pt x="8421" y="0"/>
                </a:cubicBezTo>
                <a:cubicBezTo>
                  <a:pt x="8479" y="0"/>
                  <a:pt x="8505" y="19"/>
                  <a:pt x="8505" y="69"/>
                </a:cubicBezTo>
                <a:cubicBezTo>
                  <a:pt x="8505" y="153"/>
                  <a:pt x="8505" y="153"/>
                  <a:pt x="8505" y="153"/>
                </a:cubicBezTo>
                <a:cubicBezTo>
                  <a:pt x="8505" y="202"/>
                  <a:pt x="8479" y="222"/>
                  <a:pt x="8421" y="222"/>
                </a:cubicBezTo>
                <a:lnTo>
                  <a:pt x="8373" y="222"/>
                </a:lnTo>
                <a:close/>
                <a:moveTo>
                  <a:pt x="8384" y="160"/>
                </a:moveTo>
                <a:cubicBezTo>
                  <a:pt x="8410" y="160"/>
                  <a:pt x="8424" y="155"/>
                  <a:pt x="8424" y="131"/>
                </a:cubicBezTo>
                <a:cubicBezTo>
                  <a:pt x="8424" y="90"/>
                  <a:pt x="8424" y="90"/>
                  <a:pt x="8424" y="90"/>
                </a:cubicBezTo>
                <a:cubicBezTo>
                  <a:pt x="8424" y="67"/>
                  <a:pt x="8410" y="61"/>
                  <a:pt x="8384" y="61"/>
                </a:cubicBezTo>
                <a:cubicBezTo>
                  <a:pt x="8186" y="61"/>
                  <a:pt x="8186" y="61"/>
                  <a:pt x="8186" y="61"/>
                </a:cubicBezTo>
                <a:cubicBezTo>
                  <a:pt x="8186" y="160"/>
                  <a:pt x="8186" y="160"/>
                  <a:pt x="8186" y="160"/>
                </a:cubicBezTo>
                <a:lnTo>
                  <a:pt x="8384" y="160"/>
                </a:lnTo>
                <a:close/>
                <a:moveTo>
                  <a:pt x="2014" y="237"/>
                </a:moveTo>
                <a:cubicBezTo>
                  <a:pt x="1711" y="0"/>
                  <a:pt x="1711" y="0"/>
                  <a:pt x="1711" y="0"/>
                </a:cubicBezTo>
                <a:cubicBezTo>
                  <a:pt x="1652" y="0"/>
                  <a:pt x="1652" y="0"/>
                  <a:pt x="1652" y="0"/>
                </a:cubicBezTo>
                <a:cubicBezTo>
                  <a:pt x="1652" y="356"/>
                  <a:pt x="1652" y="356"/>
                  <a:pt x="1652" y="356"/>
                </a:cubicBezTo>
                <a:cubicBezTo>
                  <a:pt x="1731" y="356"/>
                  <a:pt x="1731" y="356"/>
                  <a:pt x="1731" y="356"/>
                </a:cubicBezTo>
                <a:cubicBezTo>
                  <a:pt x="1731" y="116"/>
                  <a:pt x="1731" y="116"/>
                  <a:pt x="1731" y="116"/>
                </a:cubicBezTo>
                <a:cubicBezTo>
                  <a:pt x="2032" y="356"/>
                  <a:pt x="2032" y="356"/>
                  <a:pt x="2032" y="356"/>
                </a:cubicBezTo>
                <a:cubicBezTo>
                  <a:pt x="2092" y="356"/>
                  <a:pt x="2092" y="356"/>
                  <a:pt x="2092" y="356"/>
                </a:cubicBezTo>
                <a:cubicBezTo>
                  <a:pt x="2092" y="0"/>
                  <a:pt x="2092" y="0"/>
                  <a:pt x="2092" y="0"/>
                </a:cubicBezTo>
                <a:cubicBezTo>
                  <a:pt x="2014" y="0"/>
                  <a:pt x="2014" y="0"/>
                  <a:pt x="2014" y="0"/>
                </a:cubicBezTo>
                <a:lnTo>
                  <a:pt x="2014" y="237"/>
                </a:lnTo>
                <a:close/>
                <a:moveTo>
                  <a:pt x="2643" y="241"/>
                </a:moveTo>
                <a:cubicBezTo>
                  <a:pt x="2643" y="286"/>
                  <a:pt x="2643" y="286"/>
                  <a:pt x="2643" y="286"/>
                </a:cubicBezTo>
                <a:cubicBezTo>
                  <a:pt x="2643" y="334"/>
                  <a:pt x="2606" y="356"/>
                  <a:pt x="2533" y="356"/>
                </a:cubicBezTo>
                <a:cubicBezTo>
                  <a:pt x="2236" y="356"/>
                  <a:pt x="2236" y="356"/>
                  <a:pt x="2236" y="356"/>
                </a:cubicBezTo>
                <a:cubicBezTo>
                  <a:pt x="2236" y="0"/>
                  <a:pt x="2236" y="0"/>
                  <a:pt x="2236" y="0"/>
                </a:cubicBezTo>
                <a:cubicBezTo>
                  <a:pt x="2556" y="0"/>
                  <a:pt x="2556" y="0"/>
                  <a:pt x="2556" y="0"/>
                </a:cubicBezTo>
                <a:cubicBezTo>
                  <a:pt x="2613" y="0"/>
                  <a:pt x="2640" y="19"/>
                  <a:pt x="2640" y="69"/>
                </a:cubicBezTo>
                <a:cubicBezTo>
                  <a:pt x="2640" y="112"/>
                  <a:pt x="2640" y="112"/>
                  <a:pt x="2640" y="112"/>
                </a:cubicBezTo>
                <a:cubicBezTo>
                  <a:pt x="2640" y="145"/>
                  <a:pt x="2619" y="166"/>
                  <a:pt x="2580" y="173"/>
                </a:cubicBezTo>
                <a:cubicBezTo>
                  <a:pt x="2620" y="179"/>
                  <a:pt x="2643" y="205"/>
                  <a:pt x="2643" y="241"/>
                </a:cubicBezTo>
                <a:close/>
                <a:moveTo>
                  <a:pt x="2322" y="142"/>
                </a:moveTo>
                <a:cubicBezTo>
                  <a:pt x="2517" y="142"/>
                  <a:pt x="2517" y="142"/>
                  <a:pt x="2517" y="142"/>
                </a:cubicBezTo>
                <a:cubicBezTo>
                  <a:pt x="2543" y="142"/>
                  <a:pt x="2555" y="138"/>
                  <a:pt x="2555" y="117"/>
                </a:cubicBezTo>
                <a:cubicBezTo>
                  <a:pt x="2555" y="83"/>
                  <a:pt x="2555" y="83"/>
                  <a:pt x="2555" y="83"/>
                </a:cubicBezTo>
                <a:cubicBezTo>
                  <a:pt x="2555" y="62"/>
                  <a:pt x="2544" y="58"/>
                  <a:pt x="2517" y="58"/>
                </a:cubicBezTo>
                <a:cubicBezTo>
                  <a:pt x="2322" y="58"/>
                  <a:pt x="2322" y="58"/>
                  <a:pt x="2322" y="58"/>
                </a:cubicBezTo>
                <a:lnTo>
                  <a:pt x="2322" y="142"/>
                </a:lnTo>
                <a:close/>
                <a:moveTo>
                  <a:pt x="2559" y="233"/>
                </a:moveTo>
                <a:cubicBezTo>
                  <a:pt x="2559" y="207"/>
                  <a:pt x="2546" y="201"/>
                  <a:pt x="2517" y="201"/>
                </a:cubicBezTo>
                <a:cubicBezTo>
                  <a:pt x="2322" y="201"/>
                  <a:pt x="2322" y="201"/>
                  <a:pt x="2322" y="201"/>
                </a:cubicBezTo>
                <a:cubicBezTo>
                  <a:pt x="2322" y="292"/>
                  <a:pt x="2322" y="292"/>
                  <a:pt x="2322" y="292"/>
                </a:cubicBezTo>
                <a:cubicBezTo>
                  <a:pt x="2517" y="292"/>
                  <a:pt x="2517" y="292"/>
                  <a:pt x="2517" y="292"/>
                </a:cubicBezTo>
                <a:cubicBezTo>
                  <a:pt x="2546" y="292"/>
                  <a:pt x="2559" y="286"/>
                  <a:pt x="2559" y="260"/>
                </a:cubicBezTo>
                <a:lnTo>
                  <a:pt x="2559" y="233"/>
                </a:lnTo>
                <a:close/>
                <a:moveTo>
                  <a:pt x="8980" y="290"/>
                </a:moveTo>
                <a:cubicBezTo>
                  <a:pt x="8980" y="202"/>
                  <a:pt x="8980" y="202"/>
                  <a:pt x="8980" y="202"/>
                </a:cubicBezTo>
                <a:cubicBezTo>
                  <a:pt x="9152" y="202"/>
                  <a:pt x="9152" y="202"/>
                  <a:pt x="9152" y="202"/>
                </a:cubicBezTo>
                <a:cubicBezTo>
                  <a:pt x="9152" y="141"/>
                  <a:pt x="9152" y="141"/>
                  <a:pt x="9152" y="141"/>
                </a:cubicBezTo>
                <a:cubicBezTo>
                  <a:pt x="8980" y="141"/>
                  <a:pt x="8980" y="141"/>
                  <a:pt x="8980" y="141"/>
                </a:cubicBezTo>
                <a:cubicBezTo>
                  <a:pt x="8980" y="63"/>
                  <a:pt x="8980" y="63"/>
                  <a:pt x="8980" y="63"/>
                </a:cubicBezTo>
                <a:cubicBezTo>
                  <a:pt x="9275" y="63"/>
                  <a:pt x="9275" y="63"/>
                  <a:pt x="9275" y="63"/>
                </a:cubicBezTo>
                <a:cubicBezTo>
                  <a:pt x="9275" y="0"/>
                  <a:pt x="9275" y="0"/>
                  <a:pt x="9275" y="0"/>
                </a:cubicBezTo>
                <a:cubicBezTo>
                  <a:pt x="8893" y="0"/>
                  <a:pt x="8893" y="0"/>
                  <a:pt x="8893" y="0"/>
                </a:cubicBezTo>
                <a:cubicBezTo>
                  <a:pt x="8893" y="356"/>
                  <a:pt x="8893" y="356"/>
                  <a:pt x="8893" y="356"/>
                </a:cubicBezTo>
                <a:cubicBezTo>
                  <a:pt x="9279" y="356"/>
                  <a:pt x="9279" y="356"/>
                  <a:pt x="9279" y="356"/>
                </a:cubicBezTo>
                <a:cubicBezTo>
                  <a:pt x="9279" y="290"/>
                  <a:pt x="9279" y="290"/>
                  <a:pt x="9279" y="290"/>
                </a:cubicBezTo>
                <a:lnTo>
                  <a:pt x="8980" y="290"/>
                </a:lnTo>
                <a:close/>
                <a:moveTo>
                  <a:pt x="1227" y="202"/>
                </a:moveTo>
                <a:cubicBezTo>
                  <a:pt x="1399" y="202"/>
                  <a:pt x="1399" y="202"/>
                  <a:pt x="1399" y="202"/>
                </a:cubicBezTo>
                <a:cubicBezTo>
                  <a:pt x="1399" y="141"/>
                  <a:pt x="1399" y="141"/>
                  <a:pt x="1399" y="141"/>
                </a:cubicBezTo>
                <a:cubicBezTo>
                  <a:pt x="1227" y="141"/>
                  <a:pt x="1227" y="141"/>
                  <a:pt x="1227" y="141"/>
                </a:cubicBezTo>
                <a:cubicBezTo>
                  <a:pt x="1227" y="63"/>
                  <a:pt x="1227" y="63"/>
                  <a:pt x="1227" y="63"/>
                </a:cubicBezTo>
                <a:cubicBezTo>
                  <a:pt x="1522" y="63"/>
                  <a:pt x="1522" y="63"/>
                  <a:pt x="1522" y="63"/>
                </a:cubicBezTo>
                <a:cubicBezTo>
                  <a:pt x="1522" y="0"/>
                  <a:pt x="1522" y="0"/>
                  <a:pt x="1522" y="0"/>
                </a:cubicBezTo>
                <a:cubicBezTo>
                  <a:pt x="1140" y="0"/>
                  <a:pt x="1140" y="0"/>
                  <a:pt x="1140" y="0"/>
                </a:cubicBezTo>
                <a:cubicBezTo>
                  <a:pt x="1140" y="356"/>
                  <a:pt x="1140" y="356"/>
                  <a:pt x="1140" y="356"/>
                </a:cubicBezTo>
                <a:cubicBezTo>
                  <a:pt x="1526" y="356"/>
                  <a:pt x="1526" y="356"/>
                  <a:pt x="1526" y="356"/>
                </a:cubicBezTo>
                <a:cubicBezTo>
                  <a:pt x="1526" y="290"/>
                  <a:pt x="1526" y="290"/>
                  <a:pt x="1526" y="290"/>
                </a:cubicBezTo>
                <a:cubicBezTo>
                  <a:pt x="1227" y="290"/>
                  <a:pt x="1227" y="290"/>
                  <a:pt x="1227" y="290"/>
                </a:cubicBezTo>
                <a:lnTo>
                  <a:pt x="1227" y="202"/>
                </a:lnTo>
                <a:close/>
                <a:moveTo>
                  <a:pt x="461" y="84"/>
                </a:moveTo>
                <a:cubicBezTo>
                  <a:pt x="461" y="272"/>
                  <a:pt x="461" y="272"/>
                  <a:pt x="461" y="272"/>
                </a:cubicBezTo>
                <a:cubicBezTo>
                  <a:pt x="461" y="339"/>
                  <a:pt x="438" y="356"/>
                  <a:pt x="368" y="356"/>
                </a:cubicBezTo>
                <a:cubicBezTo>
                  <a:pt x="93" y="356"/>
                  <a:pt x="93" y="356"/>
                  <a:pt x="93" y="356"/>
                </a:cubicBezTo>
                <a:cubicBezTo>
                  <a:pt x="22" y="356"/>
                  <a:pt x="0" y="339"/>
                  <a:pt x="0" y="272"/>
                </a:cubicBezTo>
                <a:cubicBezTo>
                  <a:pt x="0" y="84"/>
                  <a:pt x="0" y="84"/>
                  <a:pt x="0" y="84"/>
                </a:cubicBezTo>
                <a:cubicBezTo>
                  <a:pt x="0" y="16"/>
                  <a:pt x="23" y="0"/>
                  <a:pt x="93" y="0"/>
                </a:cubicBezTo>
                <a:cubicBezTo>
                  <a:pt x="368" y="0"/>
                  <a:pt x="368" y="0"/>
                  <a:pt x="368" y="0"/>
                </a:cubicBezTo>
                <a:cubicBezTo>
                  <a:pt x="438" y="0"/>
                  <a:pt x="461" y="16"/>
                  <a:pt x="461" y="84"/>
                </a:cubicBezTo>
                <a:close/>
                <a:moveTo>
                  <a:pt x="374" y="66"/>
                </a:moveTo>
                <a:cubicBezTo>
                  <a:pt x="87" y="66"/>
                  <a:pt x="87" y="66"/>
                  <a:pt x="87" y="66"/>
                </a:cubicBezTo>
                <a:cubicBezTo>
                  <a:pt x="87" y="288"/>
                  <a:pt x="87" y="288"/>
                  <a:pt x="87" y="288"/>
                </a:cubicBezTo>
                <a:cubicBezTo>
                  <a:pt x="374" y="288"/>
                  <a:pt x="374" y="288"/>
                  <a:pt x="374" y="288"/>
                </a:cubicBezTo>
                <a:lnTo>
                  <a:pt x="374" y="66"/>
                </a:lnTo>
                <a:close/>
                <a:moveTo>
                  <a:pt x="1015" y="69"/>
                </a:moveTo>
                <a:cubicBezTo>
                  <a:pt x="1015" y="148"/>
                  <a:pt x="1015" y="148"/>
                  <a:pt x="1015" y="148"/>
                </a:cubicBezTo>
                <a:cubicBezTo>
                  <a:pt x="1015" y="198"/>
                  <a:pt x="989" y="217"/>
                  <a:pt x="932" y="217"/>
                </a:cubicBezTo>
                <a:cubicBezTo>
                  <a:pt x="697" y="217"/>
                  <a:pt x="697" y="217"/>
                  <a:pt x="697" y="217"/>
                </a:cubicBezTo>
                <a:cubicBezTo>
                  <a:pt x="697" y="356"/>
                  <a:pt x="697" y="356"/>
                  <a:pt x="697" y="356"/>
                </a:cubicBezTo>
                <a:cubicBezTo>
                  <a:pt x="611" y="356"/>
                  <a:pt x="611" y="356"/>
                  <a:pt x="611" y="356"/>
                </a:cubicBezTo>
                <a:cubicBezTo>
                  <a:pt x="611" y="0"/>
                  <a:pt x="611" y="0"/>
                  <a:pt x="611" y="0"/>
                </a:cubicBezTo>
                <a:cubicBezTo>
                  <a:pt x="932" y="0"/>
                  <a:pt x="932" y="0"/>
                  <a:pt x="932" y="0"/>
                </a:cubicBezTo>
                <a:cubicBezTo>
                  <a:pt x="989" y="0"/>
                  <a:pt x="1015" y="19"/>
                  <a:pt x="1015" y="69"/>
                </a:cubicBezTo>
                <a:close/>
                <a:moveTo>
                  <a:pt x="934" y="90"/>
                </a:moveTo>
                <a:cubicBezTo>
                  <a:pt x="934" y="67"/>
                  <a:pt x="921" y="61"/>
                  <a:pt x="895" y="61"/>
                </a:cubicBezTo>
                <a:cubicBezTo>
                  <a:pt x="697" y="61"/>
                  <a:pt x="697" y="61"/>
                  <a:pt x="697" y="61"/>
                </a:cubicBezTo>
                <a:cubicBezTo>
                  <a:pt x="697" y="156"/>
                  <a:pt x="697" y="156"/>
                  <a:pt x="697" y="156"/>
                </a:cubicBezTo>
                <a:cubicBezTo>
                  <a:pt x="895" y="156"/>
                  <a:pt x="895" y="156"/>
                  <a:pt x="895" y="156"/>
                </a:cubicBezTo>
                <a:cubicBezTo>
                  <a:pt x="921" y="156"/>
                  <a:pt x="934" y="151"/>
                  <a:pt x="934" y="127"/>
                </a:cubicBezTo>
                <a:lnTo>
                  <a:pt x="934" y="90"/>
                </a:lnTo>
                <a:close/>
                <a:moveTo>
                  <a:pt x="8648" y="356"/>
                </a:moveTo>
                <a:cubicBezTo>
                  <a:pt x="8735" y="356"/>
                  <a:pt x="8735" y="356"/>
                  <a:pt x="8735" y="356"/>
                </a:cubicBezTo>
                <a:cubicBezTo>
                  <a:pt x="8735" y="0"/>
                  <a:pt x="8735" y="0"/>
                  <a:pt x="8735" y="0"/>
                </a:cubicBezTo>
                <a:cubicBezTo>
                  <a:pt x="8648" y="0"/>
                  <a:pt x="8648" y="0"/>
                  <a:pt x="8648" y="0"/>
                </a:cubicBezTo>
                <a:lnTo>
                  <a:pt x="8648" y="356"/>
                </a:lnTo>
                <a:close/>
                <a:moveTo>
                  <a:pt x="6051" y="237"/>
                </a:moveTo>
                <a:cubicBezTo>
                  <a:pt x="5749" y="0"/>
                  <a:pt x="5749" y="0"/>
                  <a:pt x="5749" y="0"/>
                </a:cubicBezTo>
                <a:cubicBezTo>
                  <a:pt x="5689" y="0"/>
                  <a:pt x="5689" y="0"/>
                  <a:pt x="5689" y="0"/>
                </a:cubicBezTo>
                <a:cubicBezTo>
                  <a:pt x="5689" y="356"/>
                  <a:pt x="5689" y="356"/>
                  <a:pt x="5689" y="356"/>
                </a:cubicBezTo>
                <a:cubicBezTo>
                  <a:pt x="5768" y="356"/>
                  <a:pt x="5768" y="356"/>
                  <a:pt x="5768" y="356"/>
                </a:cubicBezTo>
                <a:cubicBezTo>
                  <a:pt x="5768" y="116"/>
                  <a:pt x="5768" y="116"/>
                  <a:pt x="5768" y="116"/>
                </a:cubicBezTo>
                <a:cubicBezTo>
                  <a:pt x="6070" y="356"/>
                  <a:pt x="6070" y="356"/>
                  <a:pt x="6070" y="356"/>
                </a:cubicBezTo>
                <a:cubicBezTo>
                  <a:pt x="6129" y="356"/>
                  <a:pt x="6129" y="356"/>
                  <a:pt x="6129" y="356"/>
                </a:cubicBezTo>
                <a:cubicBezTo>
                  <a:pt x="6129" y="0"/>
                  <a:pt x="6129" y="0"/>
                  <a:pt x="6129" y="0"/>
                </a:cubicBezTo>
                <a:cubicBezTo>
                  <a:pt x="6051" y="0"/>
                  <a:pt x="6051" y="0"/>
                  <a:pt x="6051" y="0"/>
                </a:cubicBezTo>
                <a:lnTo>
                  <a:pt x="6051" y="237"/>
                </a:lnTo>
                <a:close/>
                <a:moveTo>
                  <a:pt x="5444" y="0"/>
                </a:moveTo>
                <a:cubicBezTo>
                  <a:pt x="5444" y="178"/>
                  <a:pt x="5444" y="178"/>
                  <a:pt x="5444" y="178"/>
                </a:cubicBezTo>
                <a:cubicBezTo>
                  <a:pt x="5444" y="356"/>
                  <a:pt x="5444" y="356"/>
                  <a:pt x="5444" y="356"/>
                </a:cubicBezTo>
                <a:cubicBezTo>
                  <a:pt x="5487" y="356"/>
                  <a:pt x="5487" y="356"/>
                  <a:pt x="5487" y="356"/>
                </a:cubicBezTo>
                <a:cubicBezTo>
                  <a:pt x="5531" y="356"/>
                  <a:pt x="5531" y="356"/>
                  <a:pt x="5531" y="356"/>
                </a:cubicBezTo>
                <a:cubicBezTo>
                  <a:pt x="5531" y="178"/>
                  <a:pt x="5531" y="178"/>
                  <a:pt x="5531" y="178"/>
                </a:cubicBezTo>
                <a:cubicBezTo>
                  <a:pt x="5531" y="0"/>
                  <a:pt x="5531" y="0"/>
                  <a:pt x="5531" y="0"/>
                </a:cubicBezTo>
                <a:cubicBezTo>
                  <a:pt x="5531" y="0"/>
                  <a:pt x="5531" y="0"/>
                  <a:pt x="5531" y="0"/>
                </a:cubicBezTo>
                <a:cubicBezTo>
                  <a:pt x="5444" y="0"/>
                  <a:pt x="5444" y="0"/>
                  <a:pt x="5444" y="0"/>
                </a:cubicBezTo>
                <a:close/>
                <a:moveTo>
                  <a:pt x="6288" y="356"/>
                </a:moveTo>
                <a:cubicBezTo>
                  <a:pt x="6375" y="356"/>
                  <a:pt x="6375" y="356"/>
                  <a:pt x="6375" y="356"/>
                </a:cubicBezTo>
                <a:cubicBezTo>
                  <a:pt x="6375" y="0"/>
                  <a:pt x="6375" y="0"/>
                  <a:pt x="6375" y="0"/>
                </a:cubicBezTo>
                <a:cubicBezTo>
                  <a:pt x="6288" y="0"/>
                  <a:pt x="6288" y="0"/>
                  <a:pt x="6288" y="0"/>
                </a:cubicBezTo>
                <a:lnTo>
                  <a:pt x="6288" y="356"/>
                </a:lnTo>
                <a:close/>
                <a:moveTo>
                  <a:pt x="5042" y="211"/>
                </a:moveTo>
                <a:cubicBezTo>
                  <a:pt x="4868" y="0"/>
                  <a:pt x="4868" y="0"/>
                  <a:pt x="4868" y="0"/>
                </a:cubicBezTo>
                <a:cubicBezTo>
                  <a:pt x="4798" y="0"/>
                  <a:pt x="4798" y="0"/>
                  <a:pt x="4798" y="0"/>
                </a:cubicBezTo>
                <a:cubicBezTo>
                  <a:pt x="4798" y="356"/>
                  <a:pt x="4798" y="356"/>
                  <a:pt x="4798" y="356"/>
                </a:cubicBezTo>
                <a:cubicBezTo>
                  <a:pt x="4868" y="356"/>
                  <a:pt x="4868" y="356"/>
                  <a:pt x="4868" y="356"/>
                </a:cubicBezTo>
                <a:cubicBezTo>
                  <a:pt x="4868" y="117"/>
                  <a:pt x="4868" y="117"/>
                  <a:pt x="4868" y="117"/>
                </a:cubicBezTo>
                <a:cubicBezTo>
                  <a:pt x="5029" y="313"/>
                  <a:pt x="5029" y="313"/>
                  <a:pt x="5029" y="313"/>
                </a:cubicBezTo>
                <a:cubicBezTo>
                  <a:pt x="5046" y="313"/>
                  <a:pt x="5046" y="313"/>
                  <a:pt x="5046" y="313"/>
                </a:cubicBezTo>
                <a:cubicBezTo>
                  <a:pt x="5205" y="111"/>
                  <a:pt x="5205" y="111"/>
                  <a:pt x="5205" y="111"/>
                </a:cubicBezTo>
                <a:cubicBezTo>
                  <a:pt x="5205" y="356"/>
                  <a:pt x="5205" y="356"/>
                  <a:pt x="5205" y="356"/>
                </a:cubicBezTo>
                <a:cubicBezTo>
                  <a:pt x="5286" y="356"/>
                  <a:pt x="5286" y="356"/>
                  <a:pt x="5286" y="356"/>
                </a:cubicBezTo>
                <a:cubicBezTo>
                  <a:pt x="5286" y="0"/>
                  <a:pt x="5286" y="0"/>
                  <a:pt x="5286" y="0"/>
                </a:cubicBezTo>
                <a:cubicBezTo>
                  <a:pt x="5216" y="0"/>
                  <a:pt x="5216" y="0"/>
                  <a:pt x="5216" y="0"/>
                </a:cubicBezTo>
                <a:lnTo>
                  <a:pt x="5042" y="211"/>
                </a:lnTo>
                <a:close/>
                <a:moveTo>
                  <a:pt x="3589" y="0"/>
                </a:moveTo>
                <a:cubicBezTo>
                  <a:pt x="3804" y="356"/>
                  <a:pt x="3804" y="356"/>
                  <a:pt x="3804" y="356"/>
                </a:cubicBezTo>
                <a:cubicBezTo>
                  <a:pt x="3706" y="356"/>
                  <a:pt x="3706" y="356"/>
                  <a:pt x="3706" y="356"/>
                </a:cubicBezTo>
                <a:cubicBezTo>
                  <a:pt x="3662" y="278"/>
                  <a:pt x="3662" y="278"/>
                  <a:pt x="3662" y="278"/>
                </a:cubicBezTo>
                <a:cubicBezTo>
                  <a:pt x="3426" y="278"/>
                  <a:pt x="3426" y="278"/>
                  <a:pt x="3426" y="278"/>
                </a:cubicBezTo>
                <a:cubicBezTo>
                  <a:pt x="3381" y="356"/>
                  <a:pt x="3381" y="356"/>
                  <a:pt x="3381" y="356"/>
                </a:cubicBezTo>
                <a:cubicBezTo>
                  <a:pt x="3294" y="356"/>
                  <a:pt x="3294" y="356"/>
                  <a:pt x="3294" y="356"/>
                </a:cubicBezTo>
                <a:cubicBezTo>
                  <a:pt x="3506" y="0"/>
                  <a:pt x="3506" y="0"/>
                  <a:pt x="3506" y="0"/>
                </a:cubicBezTo>
                <a:lnTo>
                  <a:pt x="3589" y="0"/>
                </a:lnTo>
                <a:close/>
                <a:moveTo>
                  <a:pt x="3626" y="213"/>
                </a:moveTo>
                <a:cubicBezTo>
                  <a:pt x="3543" y="65"/>
                  <a:pt x="3543" y="65"/>
                  <a:pt x="3543" y="65"/>
                </a:cubicBezTo>
                <a:cubicBezTo>
                  <a:pt x="3463" y="213"/>
                  <a:pt x="3463" y="213"/>
                  <a:pt x="3463" y="213"/>
                </a:cubicBezTo>
                <a:lnTo>
                  <a:pt x="3626" y="213"/>
                </a:lnTo>
                <a:close/>
                <a:moveTo>
                  <a:pt x="7676" y="202"/>
                </a:moveTo>
                <a:cubicBezTo>
                  <a:pt x="7848" y="202"/>
                  <a:pt x="7848" y="202"/>
                  <a:pt x="7848" y="202"/>
                </a:cubicBezTo>
                <a:cubicBezTo>
                  <a:pt x="7848" y="141"/>
                  <a:pt x="7848" y="141"/>
                  <a:pt x="7848" y="141"/>
                </a:cubicBezTo>
                <a:cubicBezTo>
                  <a:pt x="7676" y="141"/>
                  <a:pt x="7676" y="141"/>
                  <a:pt x="7676" y="141"/>
                </a:cubicBezTo>
                <a:cubicBezTo>
                  <a:pt x="7676" y="63"/>
                  <a:pt x="7676" y="63"/>
                  <a:pt x="7676" y="63"/>
                </a:cubicBezTo>
                <a:cubicBezTo>
                  <a:pt x="7971" y="63"/>
                  <a:pt x="7971" y="63"/>
                  <a:pt x="7971" y="63"/>
                </a:cubicBezTo>
                <a:cubicBezTo>
                  <a:pt x="7971" y="0"/>
                  <a:pt x="7971" y="0"/>
                  <a:pt x="7971" y="0"/>
                </a:cubicBezTo>
                <a:cubicBezTo>
                  <a:pt x="7589" y="0"/>
                  <a:pt x="7589" y="0"/>
                  <a:pt x="7589" y="0"/>
                </a:cubicBezTo>
                <a:cubicBezTo>
                  <a:pt x="7589" y="356"/>
                  <a:pt x="7589" y="356"/>
                  <a:pt x="7589" y="356"/>
                </a:cubicBezTo>
                <a:cubicBezTo>
                  <a:pt x="7975" y="356"/>
                  <a:pt x="7975" y="356"/>
                  <a:pt x="7975" y="356"/>
                </a:cubicBezTo>
                <a:cubicBezTo>
                  <a:pt x="7975" y="290"/>
                  <a:pt x="7975" y="290"/>
                  <a:pt x="7975" y="290"/>
                </a:cubicBezTo>
                <a:cubicBezTo>
                  <a:pt x="7676" y="290"/>
                  <a:pt x="7676" y="290"/>
                  <a:pt x="7676" y="290"/>
                </a:cubicBezTo>
                <a:lnTo>
                  <a:pt x="7676" y="202"/>
                </a:lnTo>
                <a:close/>
                <a:moveTo>
                  <a:pt x="4164" y="221"/>
                </a:moveTo>
                <a:cubicBezTo>
                  <a:pt x="4334" y="356"/>
                  <a:pt x="4334" y="356"/>
                  <a:pt x="4334" y="356"/>
                </a:cubicBezTo>
                <a:cubicBezTo>
                  <a:pt x="4209" y="356"/>
                  <a:pt x="4209" y="356"/>
                  <a:pt x="4209" y="356"/>
                </a:cubicBezTo>
                <a:cubicBezTo>
                  <a:pt x="4060" y="221"/>
                  <a:pt x="4060" y="221"/>
                  <a:pt x="4060" y="221"/>
                </a:cubicBezTo>
                <a:cubicBezTo>
                  <a:pt x="3978" y="221"/>
                  <a:pt x="3978" y="221"/>
                  <a:pt x="3978" y="221"/>
                </a:cubicBezTo>
                <a:cubicBezTo>
                  <a:pt x="3978" y="356"/>
                  <a:pt x="3978" y="356"/>
                  <a:pt x="3978" y="356"/>
                </a:cubicBezTo>
                <a:cubicBezTo>
                  <a:pt x="3892" y="356"/>
                  <a:pt x="3892" y="356"/>
                  <a:pt x="3892" y="356"/>
                </a:cubicBezTo>
                <a:cubicBezTo>
                  <a:pt x="3892" y="0"/>
                  <a:pt x="3892" y="0"/>
                  <a:pt x="3892" y="0"/>
                </a:cubicBezTo>
                <a:cubicBezTo>
                  <a:pt x="4213" y="0"/>
                  <a:pt x="4213" y="0"/>
                  <a:pt x="4213" y="0"/>
                </a:cubicBezTo>
                <a:cubicBezTo>
                  <a:pt x="4270" y="0"/>
                  <a:pt x="4296" y="19"/>
                  <a:pt x="4296" y="69"/>
                </a:cubicBezTo>
                <a:cubicBezTo>
                  <a:pt x="4296" y="153"/>
                  <a:pt x="4296" y="153"/>
                  <a:pt x="4296" y="153"/>
                </a:cubicBezTo>
                <a:cubicBezTo>
                  <a:pt x="4296" y="202"/>
                  <a:pt x="4270" y="221"/>
                  <a:pt x="4213" y="221"/>
                </a:cubicBezTo>
                <a:lnTo>
                  <a:pt x="4164" y="221"/>
                </a:lnTo>
                <a:close/>
                <a:moveTo>
                  <a:pt x="4176" y="160"/>
                </a:moveTo>
                <a:cubicBezTo>
                  <a:pt x="4202" y="160"/>
                  <a:pt x="4216" y="155"/>
                  <a:pt x="4216" y="131"/>
                </a:cubicBezTo>
                <a:cubicBezTo>
                  <a:pt x="4216" y="90"/>
                  <a:pt x="4216" y="90"/>
                  <a:pt x="4216" y="90"/>
                </a:cubicBezTo>
                <a:cubicBezTo>
                  <a:pt x="4216" y="67"/>
                  <a:pt x="4202" y="61"/>
                  <a:pt x="4176" y="61"/>
                </a:cubicBezTo>
                <a:cubicBezTo>
                  <a:pt x="3978" y="61"/>
                  <a:pt x="3978" y="61"/>
                  <a:pt x="3978" y="61"/>
                </a:cubicBezTo>
                <a:cubicBezTo>
                  <a:pt x="3978" y="160"/>
                  <a:pt x="3978" y="160"/>
                  <a:pt x="3978" y="160"/>
                </a:cubicBezTo>
                <a:lnTo>
                  <a:pt x="4176" y="160"/>
                </a:lnTo>
                <a:close/>
                <a:moveTo>
                  <a:pt x="3015" y="0"/>
                </a:moveTo>
                <a:cubicBezTo>
                  <a:pt x="3230" y="356"/>
                  <a:pt x="3230" y="356"/>
                  <a:pt x="3230" y="356"/>
                </a:cubicBezTo>
                <a:cubicBezTo>
                  <a:pt x="3132" y="356"/>
                  <a:pt x="3132" y="356"/>
                  <a:pt x="3132" y="356"/>
                </a:cubicBezTo>
                <a:cubicBezTo>
                  <a:pt x="3088" y="278"/>
                  <a:pt x="3088" y="278"/>
                  <a:pt x="3088" y="278"/>
                </a:cubicBezTo>
                <a:cubicBezTo>
                  <a:pt x="2852" y="278"/>
                  <a:pt x="2852" y="278"/>
                  <a:pt x="2852" y="278"/>
                </a:cubicBezTo>
                <a:cubicBezTo>
                  <a:pt x="2807" y="356"/>
                  <a:pt x="2807" y="356"/>
                  <a:pt x="2807" y="356"/>
                </a:cubicBezTo>
                <a:cubicBezTo>
                  <a:pt x="2721" y="356"/>
                  <a:pt x="2721" y="356"/>
                  <a:pt x="2721" y="356"/>
                </a:cubicBezTo>
                <a:cubicBezTo>
                  <a:pt x="2932" y="0"/>
                  <a:pt x="2932" y="0"/>
                  <a:pt x="2932" y="0"/>
                </a:cubicBezTo>
                <a:lnTo>
                  <a:pt x="3015" y="0"/>
                </a:lnTo>
                <a:close/>
                <a:moveTo>
                  <a:pt x="3052" y="213"/>
                </a:moveTo>
                <a:cubicBezTo>
                  <a:pt x="2969" y="65"/>
                  <a:pt x="2969" y="65"/>
                  <a:pt x="2969" y="65"/>
                </a:cubicBezTo>
                <a:cubicBezTo>
                  <a:pt x="2889" y="213"/>
                  <a:pt x="2889" y="213"/>
                  <a:pt x="2889" y="213"/>
                </a:cubicBezTo>
                <a:lnTo>
                  <a:pt x="3052" y="213"/>
                </a:lnTo>
                <a:close/>
                <a:moveTo>
                  <a:pt x="7046" y="64"/>
                </a:moveTo>
                <a:cubicBezTo>
                  <a:pt x="7217" y="64"/>
                  <a:pt x="7217" y="64"/>
                  <a:pt x="7217" y="64"/>
                </a:cubicBezTo>
                <a:cubicBezTo>
                  <a:pt x="7217" y="356"/>
                  <a:pt x="7217" y="356"/>
                  <a:pt x="7217" y="356"/>
                </a:cubicBezTo>
                <a:cubicBezTo>
                  <a:pt x="7304" y="356"/>
                  <a:pt x="7304" y="356"/>
                  <a:pt x="7304" y="356"/>
                </a:cubicBezTo>
                <a:cubicBezTo>
                  <a:pt x="7304" y="64"/>
                  <a:pt x="7304" y="64"/>
                  <a:pt x="7304" y="64"/>
                </a:cubicBezTo>
                <a:cubicBezTo>
                  <a:pt x="7477" y="64"/>
                  <a:pt x="7477" y="64"/>
                  <a:pt x="7477" y="64"/>
                </a:cubicBezTo>
                <a:cubicBezTo>
                  <a:pt x="7477" y="0"/>
                  <a:pt x="7477" y="0"/>
                  <a:pt x="7477" y="0"/>
                </a:cubicBezTo>
                <a:cubicBezTo>
                  <a:pt x="7046" y="0"/>
                  <a:pt x="7046" y="0"/>
                  <a:pt x="7046" y="0"/>
                </a:cubicBezTo>
                <a:lnTo>
                  <a:pt x="704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 name="***Titel 1"/>
          <p:cNvSpPr>
            <a:spLocks noGrp="1" noSelect="1"/>
          </p:cNvSpPr>
          <p:nvPr>
            <p:ph type="ctrTitle" hasCustomPrompt="1"/>
          </p:nvPr>
        </p:nvSpPr>
        <p:spPr bwMode="gray">
          <a:xfrm>
            <a:off x="1077861" y="3913999"/>
            <a:ext cx="10040516" cy="685952"/>
          </a:xfrm>
        </p:spPr>
        <p:txBody>
          <a:bodyPr anchor="t" anchorCtr="0"/>
          <a:lstStyle>
            <a:lvl1pPr algn="l">
              <a:defRPr sz="3600" baseline="0">
                <a:solidFill>
                  <a:srgbClr val="FFFFFF"/>
                </a:solidFill>
              </a:defRPr>
            </a:lvl1pPr>
          </a:lstStyle>
          <a:p>
            <a:r>
              <a:rPr lang="nl-NL" noProof="1"/>
              <a:t>[Titel]</a:t>
            </a:r>
          </a:p>
        </p:txBody>
      </p:sp>
      <p:sp>
        <p:nvSpPr>
          <p:cNvPr id="3" name="Ondertitel 2"/>
          <p:cNvSpPr>
            <a:spLocks noGrp="1" noSelect="1"/>
          </p:cNvSpPr>
          <p:nvPr>
            <p:ph type="subTitle" idx="1" hasCustomPrompt="1"/>
          </p:nvPr>
        </p:nvSpPr>
        <p:spPr bwMode="gray">
          <a:xfrm>
            <a:off x="1089134" y="4863460"/>
            <a:ext cx="10029243" cy="288000"/>
          </a:xfrm>
        </p:spPr>
        <p:txBody>
          <a:bodyPr/>
          <a:lstStyle>
            <a:lvl1pPr marL="0" indent="0" algn="l">
              <a:buNone/>
              <a:defRPr>
                <a:solidFill>
                  <a:srgbClr val="FFFFFF"/>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nl-NL" noProof="1"/>
              <a:t>[Subtitel]</a:t>
            </a:r>
          </a:p>
        </p:txBody>
      </p:sp>
      <p:sp>
        <p:nvSpPr>
          <p:cNvPr id="7" name="Tijdelijke aanduiding voor datum 6"/>
          <p:cNvSpPr>
            <a:spLocks noGrp="1" noSelect="1"/>
          </p:cNvSpPr>
          <p:nvPr>
            <p:ph type="dt" sz="half" idx="14"/>
          </p:nvPr>
        </p:nvSpPr>
        <p:spPr/>
        <p:txBody>
          <a:bodyPr/>
          <a:lstStyle/>
          <a:p>
            <a:fld id="{C0474095-6364-4494-AA4A-ACE7BD9D6CBB}" type="datetime4">
              <a:rPr lang="nl-NL" noProof="1" smtClean="0"/>
              <a:t>22 september 2022</a:t>
            </a:fld>
            <a:endParaRPr lang="nl-NL" noProof="1"/>
          </a:p>
        </p:txBody>
      </p:sp>
      <p:sp>
        <p:nvSpPr>
          <p:cNvPr id="9" name="Tijdelijke aanduiding voor voettekst 8"/>
          <p:cNvSpPr>
            <a:spLocks noGrp="1" noSelect="1"/>
          </p:cNvSpPr>
          <p:nvPr>
            <p:ph type="ftr" sz="quarter" idx="15"/>
          </p:nvPr>
        </p:nvSpPr>
        <p:spPr>
          <a:xfrm>
            <a:off x="1080000" y="2217600"/>
            <a:ext cx="10116000" cy="307765"/>
          </a:xfrm>
        </p:spPr>
        <p:txBody>
          <a:bodyPr/>
          <a:lstStyle/>
          <a:p>
            <a:r>
              <a:rPr lang="nl-NL" noProof="1"/>
              <a:t>[Plaats hier de aanduiding van het OM onderdeel]</a:t>
            </a:r>
          </a:p>
        </p:txBody>
      </p:sp>
      <p:sp>
        <p:nvSpPr>
          <p:cNvPr id="12" name="Rechthoek 11"/>
          <p:cNvSpPr>
            <a:spLocks noSelect="1"/>
          </p:cNvSpPr>
          <p:nvPr userDrawn="1"/>
        </p:nvSpPr>
        <p:spPr>
          <a:xfrm>
            <a:off x="-1285778" y="189362"/>
            <a:ext cx="1170156" cy="2520336"/>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nl-NL" sz="1000" dirty="0">
                <a:solidFill>
                  <a:schemeClr val="tx1"/>
                </a:solidFill>
              </a:rPr>
              <a:t>Via Invoegen | Koptekst en voettekst kan de datum, paginanummer en aanduiding</a:t>
            </a:r>
            <a:r>
              <a:rPr lang="nl-NL" sz="1000" baseline="0" dirty="0">
                <a:solidFill>
                  <a:schemeClr val="tx1"/>
                </a:solidFill>
              </a:rPr>
              <a:t> van het OM onderdeel geplaatst worden.</a:t>
            </a:r>
          </a:p>
          <a:p>
            <a:pPr algn="l"/>
            <a:endParaRPr lang="nl-NL" sz="1000" baseline="0" dirty="0">
              <a:solidFill>
                <a:schemeClr val="tx1"/>
              </a:solidFill>
            </a:endParaRPr>
          </a:p>
          <a:p>
            <a:pPr algn="l"/>
            <a:r>
              <a:rPr lang="nl-NL" sz="1000" baseline="0" dirty="0">
                <a:solidFill>
                  <a:schemeClr val="tx1"/>
                </a:solidFill>
              </a:rPr>
              <a:t>Dit instructie vak is niet te zien tijdens de presentatie.</a:t>
            </a:r>
            <a:endParaRPr lang="nl-NL" sz="1000" dirty="0">
              <a:solidFill>
                <a:schemeClr val="tx1"/>
              </a:solidFill>
            </a:endParaRPr>
          </a:p>
        </p:txBody>
      </p:sp>
      <p:sp>
        <p:nvSpPr>
          <p:cNvPr id="13" name="***Spreker"/>
          <p:cNvSpPr>
            <a:spLocks noGrp="1" noSelect="1"/>
          </p:cNvSpPr>
          <p:nvPr>
            <p:ph type="body" sz="quarter" idx="12" hasCustomPrompt="1"/>
          </p:nvPr>
        </p:nvSpPr>
        <p:spPr>
          <a:xfrm>
            <a:off x="1080000" y="720000"/>
            <a:ext cx="10080000" cy="457200"/>
          </a:xfrm>
        </p:spPr>
        <p:txBody>
          <a:bodyPr/>
          <a:lstStyle>
            <a:lvl1pPr marL="0" indent="0">
              <a:spcBef>
                <a:spcPts val="0"/>
              </a:spcBef>
              <a:spcAft>
                <a:spcPts val="0"/>
              </a:spcAft>
              <a:buNone/>
              <a:defRPr b="1" i="0"/>
            </a:lvl1pPr>
            <a:lvl2pPr marL="0" indent="0">
              <a:spcBef>
                <a:spcPts val="0"/>
              </a:spcBef>
              <a:spcAft>
                <a:spcPts val="0"/>
              </a:spcAft>
              <a:buNone/>
              <a:defRPr b="1" i="0"/>
            </a:lvl2pPr>
            <a:lvl3pPr marL="0" indent="0">
              <a:spcBef>
                <a:spcPts val="0"/>
              </a:spcBef>
              <a:spcAft>
                <a:spcPts val="0"/>
              </a:spcAft>
              <a:buNone/>
              <a:defRPr b="1" i="0"/>
            </a:lvl3pPr>
            <a:lvl4pPr marL="0" indent="0">
              <a:spcBef>
                <a:spcPts val="0"/>
              </a:spcBef>
              <a:spcAft>
                <a:spcPts val="0"/>
              </a:spcAft>
              <a:buFont typeface="Arial" panose="020B0604020202020204" pitchFamily="34" charset="0"/>
              <a:buNone/>
              <a:defRPr b="1" i="0"/>
            </a:lvl4pPr>
            <a:lvl5pPr marL="0" indent="0">
              <a:spcBef>
                <a:spcPts val="0"/>
              </a:spcBef>
              <a:spcAft>
                <a:spcPts val="0"/>
              </a:spcAft>
              <a:buFont typeface="Arial" panose="020B0604020202020204" pitchFamily="34" charset="0"/>
              <a:buNone/>
              <a:defRPr b="1" i="0"/>
            </a:lvl5pPr>
            <a:lvl6pPr marL="0" indent="0">
              <a:spcBef>
                <a:spcPts val="0"/>
              </a:spcBef>
              <a:spcAft>
                <a:spcPts val="0"/>
              </a:spcAft>
              <a:buFont typeface="Arial" panose="020B0604020202020204" pitchFamily="34" charset="0"/>
              <a:buNone/>
              <a:defRPr b="1" i="0"/>
            </a:lvl6pPr>
            <a:lvl7pPr marL="0" indent="0">
              <a:spcBef>
                <a:spcPts val="0"/>
              </a:spcBef>
              <a:spcAft>
                <a:spcPts val="0"/>
              </a:spcAft>
              <a:buFont typeface="Arial" panose="020B0604020202020204" pitchFamily="34" charset="0"/>
              <a:buNone/>
              <a:defRPr b="1" i="0"/>
            </a:lvl7pPr>
            <a:lvl8pPr marL="0" indent="0">
              <a:spcBef>
                <a:spcPts val="0"/>
              </a:spcBef>
              <a:spcAft>
                <a:spcPts val="0"/>
              </a:spcAft>
              <a:buFont typeface="Arial" panose="020B0604020202020204" pitchFamily="34" charset="0"/>
              <a:buNone/>
              <a:defRPr b="1" i="0"/>
            </a:lvl8pPr>
            <a:lvl9pPr marL="0" indent="0">
              <a:spcBef>
                <a:spcPts val="0"/>
              </a:spcBef>
              <a:spcAft>
                <a:spcPts val="0"/>
              </a:spcAft>
              <a:buFont typeface="Arial" panose="020B0604020202020204" pitchFamily="34" charset="0"/>
              <a:buNone/>
              <a:defRPr b="1" i="0"/>
            </a:lvl9pPr>
          </a:lstStyle>
          <a:p>
            <a:pPr lvl="0"/>
            <a:r>
              <a:rPr lang="nl-NL" dirty="0"/>
              <a:t>[Naam spreker]</a:t>
            </a:r>
          </a:p>
          <a:p>
            <a:pPr lvl="0"/>
            <a:endParaRPr lang="nl-NL" dirty="0"/>
          </a:p>
        </p:txBody>
      </p:sp>
    </p:spTree>
    <p:extLst>
      <p:ext uri="{BB962C8B-B14F-4D97-AF65-F5344CB8AC3E}">
        <p14:creationId xmlns:p14="http://schemas.microsoft.com/office/powerpoint/2010/main" val="16783555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kader">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p>
            <a:r>
              <a:rPr lang="nl-NL" noProof="1"/>
              <a:t>[Titel]</a:t>
            </a:r>
          </a:p>
        </p:txBody>
      </p:sp>
      <p:sp>
        <p:nvSpPr>
          <p:cNvPr id="3" name="Tijdelijke aanduiding voor inhoud 2"/>
          <p:cNvSpPr>
            <a:spLocks noGrp="1" noSelect="1"/>
          </p:cNvSpPr>
          <p:nvPr>
            <p:ph idx="1" hasCustomPrompt="1"/>
          </p:nvPr>
        </p:nvSpPr>
        <p:spPr bwMode="gray"/>
        <p:txBody>
          <a:bodyPr/>
          <a:lstStyle>
            <a:lvl1pPr>
              <a:defRPr baseline="0"/>
            </a:lvl1pPr>
          </a:lstStyle>
          <a:p>
            <a:pPr lvl="0"/>
            <a:r>
              <a:rPr lang="nl-NL" noProof="1"/>
              <a:t>[Typ tekst of klik op een pictogram om een object in te voegen]</a:t>
            </a:r>
          </a:p>
        </p:txBody>
      </p:sp>
      <p:sp>
        <p:nvSpPr>
          <p:cNvPr id="5" name="Tijdelijke aanduiding voor datum 4"/>
          <p:cNvSpPr>
            <a:spLocks noGrp="1" noSelect="1"/>
          </p:cNvSpPr>
          <p:nvPr>
            <p:ph type="dt" sz="half" idx="10"/>
          </p:nvPr>
        </p:nvSpPr>
        <p:spPr bwMode="gray"/>
        <p:txBody>
          <a:bodyPr/>
          <a:lstStyle/>
          <a:p>
            <a:fld id="{B053C1B9-E9D2-433D-9781-3485AA40C026}" type="datetime4">
              <a:rPr lang="nl-NL" noProof="1" smtClean="0"/>
              <a:t>22 september 2022</a:t>
            </a:fld>
            <a:endParaRPr lang="nl-NL" noProof="1"/>
          </a:p>
        </p:txBody>
      </p:sp>
      <p:sp>
        <p:nvSpPr>
          <p:cNvPr id="6" name="Tijdelijke aanduiding voor voettekst 5"/>
          <p:cNvSpPr>
            <a:spLocks noGrp="1" noSelect="1"/>
          </p:cNvSpPr>
          <p:nvPr>
            <p:ph type="ftr" sz="quarter" idx="11"/>
          </p:nvPr>
        </p:nvSpPr>
        <p:spPr bwMode="gray"/>
        <p:txBody>
          <a:bodyPr/>
          <a:lstStyle/>
          <a:p>
            <a:r>
              <a:rPr lang="nl-NL" noProof="1"/>
              <a:t>[Plaats hier de aanduiding van het OM onderdeel]</a:t>
            </a:r>
          </a:p>
        </p:txBody>
      </p:sp>
      <p:sp>
        <p:nvSpPr>
          <p:cNvPr id="7" name="Tijdelijke aanduiding voor dianummer 6"/>
          <p:cNvSpPr>
            <a:spLocks noGrp="1" noSelect="1"/>
          </p:cNvSpPr>
          <p:nvPr>
            <p:ph type="sldNum" sz="quarter" idx="12"/>
          </p:nvPr>
        </p:nvSpPr>
        <p:spPr bwMode="gray"/>
        <p:txBody>
          <a:bodyPr/>
          <a:lstStyle/>
          <a:p>
            <a:r>
              <a:rPr lang="nl-NL" noProof="1"/>
              <a:t>pagina </a:t>
            </a:r>
            <a:fld id="{1336C48C-F87C-4E4B-81EF-5027B17D1F61}" type="slidenum">
              <a:rPr lang="nl-NL" noProof="1" smtClean="0"/>
              <a:pPr/>
              <a:t>‹nr.›</a:t>
            </a:fld>
            <a:endParaRPr lang="nl-NL" noProof="1"/>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eldia (Paars en Oranje)">
    <p:spTree>
      <p:nvGrpSpPr>
        <p:cNvPr id="1" name=""/>
        <p:cNvGrpSpPr/>
        <p:nvPr/>
      </p:nvGrpSpPr>
      <p:grpSpPr>
        <a:xfrm>
          <a:off x="0" y="0"/>
          <a:ext cx="0" cy="0"/>
          <a:chOff x="0" y="0"/>
          <a:chExt cx="0" cy="0"/>
        </a:xfrm>
      </p:grpSpPr>
      <p:sp>
        <p:nvSpPr>
          <p:cNvPr id="10" name="Rectangle 3"/>
          <p:cNvSpPr>
            <a:spLocks noSelect="1" noChangeArrowheads="1"/>
          </p:cNvSpPr>
          <p:nvPr userDrawn="1"/>
        </p:nvSpPr>
        <p:spPr bwMode="gray">
          <a:xfrm>
            <a:off x="0" y="0"/>
            <a:ext cx="12189600" cy="1709738"/>
          </a:xfrm>
          <a:prstGeom prst="rect">
            <a:avLst/>
          </a:prstGeom>
          <a:solidFill>
            <a:srgbClr val="ED6A00"/>
          </a:solidFill>
          <a:ln>
            <a:noFill/>
          </a:ln>
          <a:effectLst/>
        </p:spPr>
        <p:txBody>
          <a:bodyPr wrap="none" anchor="ctr"/>
          <a:lstStyle/>
          <a:p>
            <a:pPr eaLnBrk="1" hangingPunct="1">
              <a:defRPr/>
            </a:pPr>
            <a:endParaRPr lang="nl-NL" dirty="0">
              <a:latin typeface="Arial Black" charset="0"/>
            </a:endParaRPr>
          </a:p>
        </p:txBody>
      </p:sp>
      <p:sp>
        <p:nvSpPr>
          <p:cNvPr id="15" name="Rechthoek 14"/>
          <p:cNvSpPr>
            <a:spLocks noSelect="1"/>
          </p:cNvSpPr>
          <p:nvPr userDrawn="1"/>
        </p:nvSpPr>
        <p:spPr bwMode="gray">
          <a:xfrm>
            <a:off x="813" y="1696403"/>
            <a:ext cx="12189600" cy="450000"/>
          </a:xfrm>
          <a:prstGeom prst="rect">
            <a:avLst/>
          </a:prstGeom>
          <a:solidFill>
            <a:srgbClr val="001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0" name="Freeform 5"/>
          <p:cNvSpPr>
            <a:spLocks noSelect="1"/>
          </p:cNvSpPr>
          <p:nvPr userDrawn="1"/>
        </p:nvSpPr>
        <p:spPr bwMode="gray">
          <a:xfrm>
            <a:off x="1089025" y="1876425"/>
            <a:ext cx="2944813" cy="114300"/>
          </a:xfrm>
          <a:custGeom>
            <a:avLst/>
            <a:gdLst>
              <a:gd name="T0" fmla="*/ 6618 w 9279"/>
              <a:gd name="T1" fmla="*/ 356 h 356"/>
              <a:gd name="T2" fmla="*/ 6602 w 9279"/>
              <a:gd name="T3" fmla="*/ 290 h 356"/>
              <a:gd name="T4" fmla="*/ 6540 w 9279"/>
              <a:gd name="T5" fmla="*/ 124 h 356"/>
              <a:gd name="T6" fmla="*/ 6938 w 9279"/>
              <a:gd name="T7" fmla="*/ 78 h 356"/>
              <a:gd name="T8" fmla="*/ 6618 w 9279"/>
              <a:gd name="T9" fmla="*/ 64 h 356"/>
              <a:gd name="T10" fmla="*/ 8373 w 9279"/>
              <a:gd name="T11" fmla="*/ 222 h 356"/>
              <a:gd name="T12" fmla="*/ 8186 w 9279"/>
              <a:gd name="T13" fmla="*/ 222 h 356"/>
              <a:gd name="T14" fmla="*/ 8421 w 9279"/>
              <a:gd name="T15" fmla="*/ 0 h 356"/>
              <a:gd name="T16" fmla="*/ 8373 w 9279"/>
              <a:gd name="T17" fmla="*/ 222 h 356"/>
              <a:gd name="T18" fmla="*/ 8384 w 9279"/>
              <a:gd name="T19" fmla="*/ 61 h 356"/>
              <a:gd name="T20" fmla="*/ 2014 w 9279"/>
              <a:gd name="T21" fmla="*/ 237 h 356"/>
              <a:gd name="T22" fmla="*/ 1731 w 9279"/>
              <a:gd name="T23" fmla="*/ 356 h 356"/>
              <a:gd name="T24" fmla="*/ 2092 w 9279"/>
              <a:gd name="T25" fmla="*/ 0 h 356"/>
              <a:gd name="T26" fmla="*/ 2643 w 9279"/>
              <a:gd name="T27" fmla="*/ 286 h 356"/>
              <a:gd name="T28" fmla="*/ 2556 w 9279"/>
              <a:gd name="T29" fmla="*/ 0 h 356"/>
              <a:gd name="T30" fmla="*/ 2643 w 9279"/>
              <a:gd name="T31" fmla="*/ 241 h 356"/>
              <a:gd name="T32" fmla="*/ 2555 w 9279"/>
              <a:gd name="T33" fmla="*/ 83 h 356"/>
              <a:gd name="T34" fmla="*/ 2559 w 9279"/>
              <a:gd name="T35" fmla="*/ 233 h 356"/>
              <a:gd name="T36" fmla="*/ 2517 w 9279"/>
              <a:gd name="T37" fmla="*/ 292 h 356"/>
              <a:gd name="T38" fmla="*/ 8980 w 9279"/>
              <a:gd name="T39" fmla="*/ 202 h 356"/>
              <a:gd name="T40" fmla="*/ 8980 w 9279"/>
              <a:gd name="T41" fmla="*/ 63 h 356"/>
              <a:gd name="T42" fmla="*/ 8893 w 9279"/>
              <a:gd name="T43" fmla="*/ 356 h 356"/>
              <a:gd name="T44" fmla="*/ 1227 w 9279"/>
              <a:gd name="T45" fmla="*/ 202 h 356"/>
              <a:gd name="T46" fmla="*/ 1227 w 9279"/>
              <a:gd name="T47" fmla="*/ 63 h 356"/>
              <a:gd name="T48" fmla="*/ 1140 w 9279"/>
              <a:gd name="T49" fmla="*/ 356 h 356"/>
              <a:gd name="T50" fmla="*/ 1227 w 9279"/>
              <a:gd name="T51" fmla="*/ 202 h 356"/>
              <a:gd name="T52" fmla="*/ 93 w 9279"/>
              <a:gd name="T53" fmla="*/ 356 h 356"/>
              <a:gd name="T54" fmla="*/ 368 w 9279"/>
              <a:gd name="T55" fmla="*/ 0 h 356"/>
              <a:gd name="T56" fmla="*/ 87 w 9279"/>
              <a:gd name="T57" fmla="*/ 288 h 356"/>
              <a:gd name="T58" fmla="*/ 1015 w 9279"/>
              <a:gd name="T59" fmla="*/ 148 h 356"/>
              <a:gd name="T60" fmla="*/ 611 w 9279"/>
              <a:gd name="T61" fmla="*/ 356 h 356"/>
              <a:gd name="T62" fmla="*/ 934 w 9279"/>
              <a:gd name="T63" fmla="*/ 90 h 356"/>
              <a:gd name="T64" fmla="*/ 895 w 9279"/>
              <a:gd name="T65" fmla="*/ 156 h 356"/>
              <a:gd name="T66" fmla="*/ 8735 w 9279"/>
              <a:gd name="T67" fmla="*/ 356 h 356"/>
              <a:gd name="T68" fmla="*/ 6051 w 9279"/>
              <a:gd name="T69" fmla="*/ 237 h 356"/>
              <a:gd name="T70" fmla="*/ 5768 w 9279"/>
              <a:gd name="T71" fmla="*/ 356 h 356"/>
              <a:gd name="T72" fmla="*/ 6129 w 9279"/>
              <a:gd name="T73" fmla="*/ 0 h 356"/>
              <a:gd name="T74" fmla="*/ 5444 w 9279"/>
              <a:gd name="T75" fmla="*/ 178 h 356"/>
              <a:gd name="T76" fmla="*/ 5531 w 9279"/>
              <a:gd name="T77" fmla="*/ 178 h 356"/>
              <a:gd name="T78" fmla="*/ 6288 w 9279"/>
              <a:gd name="T79" fmla="*/ 356 h 356"/>
              <a:gd name="T80" fmla="*/ 6288 w 9279"/>
              <a:gd name="T81" fmla="*/ 356 h 356"/>
              <a:gd name="T82" fmla="*/ 4798 w 9279"/>
              <a:gd name="T83" fmla="*/ 356 h 356"/>
              <a:gd name="T84" fmla="*/ 5046 w 9279"/>
              <a:gd name="T85" fmla="*/ 313 h 356"/>
              <a:gd name="T86" fmla="*/ 5286 w 9279"/>
              <a:gd name="T87" fmla="*/ 0 h 356"/>
              <a:gd name="T88" fmla="*/ 3804 w 9279"/>
              <a:gd name="T89" fmla="*/ 356 h 356"/>
              <a:gd name="T90" fmla="*/ 3381 w 9279"/>
              <a:gd name="T91" fmla="*/ 356 h 356"/>
              <a:gd name="T92" fmla="*/ 3626 w 9279"/>
              <a:gd name="T93" fmla="*/ 213 h 356"/>
              <a:gd name="T94" fmla="*/ 7676 w 9279"/>
              <a:gd name="T95" fmla="*/ 202 h 356"/>
              <a:gd name="T96" fmla="*/ 7676 w 9279"/>
              <a:gd name="T97" fmla="*/ 63 h 356"/>
              <a:gd name="T98" fmla="*/ 7589 w 9279"/>
              <a:gd name="T99" fmla="*/ 356 h 356"/>
              <a:gd name="T100" fmla="*/ 7676 w 9279"/>
              <a:gd name="T101" fmla="*/ 202 h 356"/>
              <a:gd name="T102" fmla="*/ 4060 w 9279"/>
              <a:gd name="T103" fmla="*/ 221 h 356"/>
              <a:gd name="T104" fmla="*/ 3892 w 9279"/>
              <a:gd name="T105" fmla="*/ 0 h 356"/>
              <a:gd name="T106" fmla="*/ 4213 w 9279"/>
              <a:gd name="T107" fmla="*/ 221 h 356"/>
              <a:gd name="T108" fmla="*/ 4216 w 9279"/>
              <a:gd name="T109" fmla="*/ 90 h 356"/>
              <a:gd name="T110" fmla="*/ 4176 w 9279"/>
              <a:gd name="T111" fmla="*/ 160 h 356"/>
              <a:gd name="T112" fmla="*/ 3088 w 9279"/>
              <a:gd name="T113" fmla="*/ 278 h 356"/>
              <a:gd name="T114" fmla="*/ 2932 w 9279"/>
              <a:gd name="T115" fmla="*/ 0 h 356"/>
              <a:gd name="T116" fmla="*/ 2889 w 9279"/>
              <a:gd name="T117" fmla="*/ 213 h 356"/>
              <a:gd name="T118" fmla="*/ 7217 w 9279"/>
              <a:gd name="T119" fmla="*/ 356 h 356"/>
              <a:gd name="T120" fmla="*/ 7477 w 9279"/>
              <a:gd name="T121"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79" h="356">
                <a:moveTo>
                  <a:pt x="6942" y="223"/>
                </a:moveTo>
                <a:cubicBezTo>
                  <a:pt x="6942" y="272"/>
                  <a:pt x="6942" y="272"/>
                  <a:pt x="6942" y="272"/>
                </a:cubicBezTo>
                <a:cubicBezTo>
                  <a:pt x="6942" y="339"/>
                  <a:pt x="6920" y="356"/>
                  <a:pt x="6849" y="356"/>
                </a:cubicBezTo>
                <a:cubicBezTo>
                  <a:pt x="6618" y="356"/>
                  <a:pt x="6618" y="356"/>
                  <a:pt x="6618" y="356"/>
                </a:cubicBezTo>
                <a:cubicBezTo>
                  <a:pt x="6547" y="356"/>
                  <a:pt x="6524" y="339"/>
                  <a:pt x="6524" y="272"/>
                </a:cubicBezTo>
                <a:cubicBezTo>
                  <a:pt x="6524" y="262"/>
                  <a:pt x="6524" y="262"/>
                  <a:pt x="6524" y="262"/>
                </a:cubicBezTo>
                <a:cubicBezTo>
                  <a:pt x="6602" y="248"/>
                  <a:pt x="6602" y="248"/>
                  <a:pt x="6602" y="248"/>
                </a:cubicBezTo>
                <a:cubicBezTo>
                  <a:pt x="6602" y="290"/>
                  <a:pt x="6602" y="290"/>
                  <a:pt x="6602" y="290"/>
                </a:cubicBezTo>
                <a:cubicBezTo>
                  <a:pt x="6864" y="290"/>
                  <a:pt x="6864" y="290"/>
                  <a:pt x="6864" y="290"/>
                </a:cubicBezTo>
                <a:cubicBezTo>
                  <a:pt x="6864" y="208"/>
                  <a:pt x="6864" y="208"/>
                  <a:pt x="6864" y="208"/>
                </a:cubicBezTo>
                <a:cubicBezTo>
                  <a:pt x="6633" y="208"/>
                  <a:pt x="6633" y="208"/>
                  <a:pt x="6633" y="208"/>
                </a:cubicBezTo>
                <a:cubicBezTo>
                  <a:pt x="6563" y="208"/>
                  <a:pt x="6540" y="191"/>
                  <a:pt x="6540" y="124"/>
                </a:cubicBezTo>
                <a:cubicBezTo>
                  <a:pt x="6540" y="84"/>
                  <a:pt x="6540" y="84"/>
                  <a:pt x="6540" y="84"/>
                </a:cubicBezTo>
                <a:cubicBezTo>
                  <a:pt x="6540" y="17"/>
                  <a:pt x="6563" y="0"/>
                  <a:pt x="6633" y="0"/>
                </a:cubicBezTo>
                <a:cubicBezTo>
                  <a:pt x="6844" y="0"/>
                  <a:pt x="6844" y="0"/>
                  <a:pt x="6844" y="0"/>
                </a:cubicBezTo>
                <a:cubicBezTo>
                  <a:pt x="6910" y="0"/>
                  <a:pt x="6938" y="15"/>
                  <a:pt x="6938" y="78"/>
                </a:cubicBezTo>
                <a:cubicBezTo>
                  <a:pt x="6938" y="86"/>
                  <a:pt x="6938" y="86"/>
                  <a:pt x="6938" y="86"/>
                </a:cubicBezTo>
                <a:cubicBezTo>
                  <a:pt x="6863" y="102"/>
                  <a:pt x="6863" y="102"/>
                  <a:pt x="6863" y="102"/>
                </a:cubicBezTo>
                <a:cubicBezTo>
                  <a:pt x="6863" y="64"/>
                  <a:pt x="6863" y="64"/>
                  <a:pt x="6863" y="64"/>
                </a:cubicBezTo>
                <a:cubicBezTo>
                  <a:pt x="6618" y="64"/>
                  <a:pt x="6618" y="64"/>
                  <a:pt x="6618" y="64"/>
                </a:cubicBezTo>
                <a:cubicBezTo>
                  <a:pt x="6618" y="139"/>
                  <a:pt x="6618" y="139"/>
                  <a:pt x="6618" y="139"/>
                </a:cubicBezTo>
                <a:cubicBezTo>
                  <a:pt x="6849" y="139"/>
                  <a:pt x="6849" y="139"/>
                  <a:pt x="6849" y="139"/>
                </a:cubicBezTo>
                <a:cubicBezTo>
                  <a:pt x="6920" y="139"/>
                  <a:pt x="6942" y="156"/>
                  <a:pt x="6942" y="223"/>
                </a:cubicBezTo>
                <a:close/>
                <a:moveTo>
                  <a:pt x="8373" y="222"/>
                </a:moveTo>
                <a:cubicBezTo>
                  <a:pt x="8542" y="356"/>
                  <a:pt x="8542" y="356"/>
                  <a:pt x="8542" y="356"/>
                </a:cubicBezTo>
                <a:cubicBezTo>
                  <a:pt x="8417" y="356"/>
                  <a:pt x="8417" y="356"/>
                  <a:pt x="8417" y="356"/>
                </a:cubicBezTo>
                <a:cubicBezTo>
                  <a:pt x="8268" y="222"/>
                  <a:pt x="8268" y="222"/>
                  <a:pt x="8268" y="222"/>
                </a:cubicBezTo>
                <a:cubicBezTo>
                  <a:pt x="8186" y="222"/>
                  <a:pt x="8186" y="222"/>
                  <a:pt x="8186" y="222"/>
                </a:cubicBezTo>
                <a:cubicBezTo>
                  <a:pt x="8186" y="356"/>
                  <a:pt x="8186" y="356"/>
                  <a:pt x="8186" y="356"/>
                </a:cubicBezTo>
                <a:cubicBezTo>
                  <a:pt x="8101" y="356"/>
                  <a:pt x="8101" y="356"/>
                  <a:pt x="8101" y="356"/>
                </a:cubicBezTo>
                <a:cubicBezTo>
                  <a:pt x="8101" y="0"/>
                  <a:pt x="8101" y="0"/>
                  <a:pt x="8101" y="0"/>
                </a:cubicBezTo>
                <a:cubicBezTo>
                  <a:pt x="8421" y="0"/>
                  <a:pt x="8421" y="0"/>
                  <a:pt x="8421" y="0"/>
                </a:cubicBezTo>
                <a:cubicBezTo>
                  <a:pt x="8479" y="0"/>
                  <a:pt x="8505" y="19"/>
                  <a:pt x="8505" y="69"/>
                </a:cubicBezTo>
                <a:cubicBezTo>
                  <a:pt x="8505" y="153"/>
                  <a:pt x="8505" y="153"/>
                  <a:pt x="8505" y="153"/>
                </a:cubicBezTo>
                <a:cubicBezTo>
                  <a:pt x="8505" y="202"/>
                  <a:pt x="8479" y="222"/>
                  <a:pt x="8421" y="222"/>
                </a:cubicBezTo>
                <a:lnTo>
                  <a:pt x="8373" y="222"/>
                </a:lnTo>
                <a:close/>
                <a:moveTo>
                  <a:pt x="8384" y="160"/>
                </a:moveTo>
                <a:cubicBezTo>
                  <a:pt x="8410" y="160"/>
                  <a:pt x="8424" y="155"/>
                  <a:pt x="8424" y="131"/>
                </a:cubicBezTo>
                <a:cubicBezTo>
                  <a:pt x="8424" y="90"/>
                  <a:pt x="8424" y="90"/>
                  <a:pt x="8424" y="90"/>
                </a:cubicBezTo>
                <a:cubicBezTo>
                  <a:pt x="8424" y="67"/>
                  <a:pt x="8410" y="61"/>
                  <a:pt x="8384" y="61"/>
                </a:cubicBezTo>
                <a:cubicBezTo>
                  <a:pt x="8186" y="61"/>
                  <a:pt x="8186" y="61"/>
                  <a:pt x="8186" y="61"/>
                </a:cubicBezTo>
                <a:cubicBezTo>
                  <a:pt x="8186" y="160"/>
                  <a:pt x="8186" y="160"/>
                  <a:pt x="8186" y="160"/>
                </a:cubicBezTo>
                <a:lnTo>
                  <a:pt x="8384" y="160"/>
                </a:lnTo>
                <a:close/>
                <a:moveTo>
                  <a:pt x="2014" y="237"/>
                </a:moveTo>
                <a:cubicBezTo>
                  <a:pt x="1711" y="0"/>
                  <a:pt x="1711" y="0"/>
                  <a:pt x="1711" y="0"/>
                </a:cubicBezTo>
                <a:cubicBezTo>
                  <a:pt x="1652" y="0"/>
                  <a:pt x="1652" y="0"/>
                  <a:pt x="1652" y="0"/>
                </a:cubicBezTo>
                <a:cubicBezTo>
                  <a:pt x="1652" y="356"/>
                  <a:pt x="1652" y="356"/>
                  <a:pt x="1652" y="356"/>
                </a:cubicBezTo>
                <a:cubicBezTo>
                  <a:pt x="1731" y="356"/>
                  <a:pt x="1731" y="356"/>
                  <a:pt x="1731" y="356"/>
                </a:cubicBezTo>
                <a:cubicBezTo>
                  <a:pt x="1731" y="116"/>
                  <a:pt x="1731" y="116"/>
                  <a:pt x="1731" y="116"/>
                </a:cubicBezTo>
                <a:cubicBezTo>
                  <a:pt x="2032" y="356"/>
                  <a:pt x="2032" y="356"/>
                  <a:pt x="2032" y="356"/>
                </a:cubicBezTo>
                <a:cubicBezTo>
                  <a:pt x="2092" y="356"/>
                  <a:pt x="2092" y="356"/>
                  <a:pt x="2092" y="356"/>
                </a:cubicBezTo>
                <a:cubicBezTo>
                  <a:pt x="2092" y="0"/>
                  <a:pt x="2092" y="0"/>
                  <a:pt x="2092" y="0"/>
                </a:cubicBezTo>
                <a:cubicBezTo>
                  <a:pt x="2014" y="0"/>
                  <a:pt x="2014" y="0"/>
                  <a:pt x="2014" y="0"/>
                </a:cubicBezTo>
                <a:lnTo>
                  <a:pt x="2014" y="237"/>
                </a:lnTo>
                <a:close/>
                <a:moveTo>
                  <a:pt x="2643" y="241"/>
                </a:moveTo>
                <a:cubicBezTo>
                  <a:pt x="2643" y="286"/>
                  <a:pt x="2643" y="286"/>
                  <a:pt x="2643" y="286"/>
                </a:cubicBezTo>
                <a:cubicBezTo>
                  <a:pt x="2643" y="334"/>
                  <a:pt x="2606" y="356"/>
                  <a:pt x="2533" y="356"/>
                </a:cubicBezTo>
                <a:cubicBezTo>
                  <a:pt x="2236" y="356"/>
                  <a:pt x="2236" y="356"/>
                  <a:pt x="2236" y="356"/>
                </a:cubicBezTo>
                <a:cubicBezTo>
                  <a:pt x="2236" y="0"/>
                  <a:pt x="2236" y="0"/>
                  <a:pt x="2236" y="0"/>
                </a:cubicBezTo>
                <a:cubicBezTo>
                  <a:pt x="2556" y="0"/>
                  <a:pt x="2556" y="0"/>
                  <a:pt x="2556" y="0"/>
                </a:cubicBezTo>
                <a:cubicBezTo>
                  <a:pt x="2613" y="0"/>
                  <a:pt x="2640" y="19"/>
                  <a:pt x="2640" y="69"/>
                </a:cubicBezTo>
                <a:cubicBezTo>
                  <a:pt x="2640" y="112"/>
                  <a:pt x="2640" y="112"/>
                  <a:pt x="2640" y="112"/>
                </a:cubicBezTo>
                <a:cubicBezTo>
                  <a:pt x="2640" y="145"/>
                  <a:pt x="2619" y="166"/>
                  <a:pt x="2580" y="173"/>
                </a:cubicBezTo>
                <a:cubicBezTo>
                  <a:pt x="2620" y="179"/>
                  <a:pt x="2643" y="205"/>
                  <a:pt x="2643" y="241"/>
                </a:cubicBezTo>
                <a:close/>
                <a:moveTo>
                  <a:pt x="2322" y="142"/>
                </a:moveTo>
                <a:cubicBezTo>
                  <a:pt x="2517" y="142"/>
                  <a:pt x="2517" y="142"/>
                  <a:pt x="2517" y="142"/>
                </a:cubicBezTo>
                <a:cubicBezTo>
                  <a:pt x="2543" y="142"/>
                  <a:pt x="2555" y="138"/>
                  <a:pt x="2555" y="117"/>
                </a:cubicBezTo>
                <a:cubicBezTo>
                  <a:pt x="2555" y="83"/>
                  <a:pt x="2555" y="83"/>
                  <a:pt x="2555" y="83"/>
                </a:cubicBezTo>
                <a:cubicBezTo>
                  <a:pt x="2555" y="62"/>
                  <a:pt x="2544" y="58"/>
                  <a:pt x="2517" y="58"/>
                </a:cubicBezTo>
                <a:cubicBezTo>
                  <a:pt x="2322" y="58"/>
                  <a:pt x="2322" y="58"/>
                  <a:pt x="2322" y="58"/>
                </a:cubicBezTo>
                <a:lnTo>
                  <a:pt x="2322" y="142"/>
                </a:lnTo>
                <a:close/>
                <a:moveTo>
                  <a:pt x="2559" y="233"/>
                </a:moveTo>
                <a:cubicBezTo>
                  <a:pt x="2559" y="207"/>
                  <a:pt x="2546" y="201"/>
                  <a:pt x="2517" y="201"/>
                </a:cubicBezTo>
                <a:cubicBezTo>
                  <a:pt x="2322" y="201"/>
                  <a:pt x="2322" y="201"/>
                  <a:pt x="2322" y="201"/>
                </a:cubicBezTo>
                <a:cubicBezTo>
                  <a:pt x="2322" y="292"/>
                  <a:pt x="2322" y="292"/>
                  <a:pt x="2322" y="292"/>
                </a:cubicBezTo>
                <a:cubicBezTo>
                  <a:pt x="2517" y="292"/>
                  <a:pt x="2517" y="292"/>
                  <a:pt x="2517" y="292"/>
                </a:cubicBezTo>
                <a:cubicBezTo>
                  <a:pt x="2546" y="292"/>
                  <a:pt x="2559" y="286"/>
                  <a:pt x="2559" y="260"/>
                </a:cubicBezTo>
                <a:lnTo>
                  <a:pt x="2559" y="233"/>
                </a:lnTo>
                <a:close/>
                <a:moveTo>
                  <a:pt x="8980" y="290"/>
                </a:moveTo>
                <a:cubicBezTo>
                  <a:pt x="8980" y="202"/>
                  <a:pt x="8980" y="202"/>
                  <a:pt x="8980" y="202"/>
                </a:cubicBezTo>
                <a:cubicBezTo>
                  <a:pt x="9152" y="202"/>
                  <a:pt x="9152" y="202"/>
                  <a:pt x="9152" y="202"/>
                </a:cubicBezTo>
                <a:cubicBezTo>
                  <a:pt x="9152" y="141"/>
                  <a:pt x="9152" y="141"/>
                  <a:pt x="9152" y="141"/>
                </a:cubicBezTo>
                <a:cubicBezTo>
                  <a:pt x="8980" y="141"/>
                  <a:pt x="8980" y="141"/>
                  <a:pt x="8980" y="141"/>
                </a:cubicBezTo>
                <a:cubicBezTo>
                  <a:pt x="8980" y="63"/>
                  <a:pt x="8980" y="63"/>
                  <a:pt x="8980" y="63"/>
                </a:cubicBezTo>
                <a:cubicBezTo>
                  <a:pt x="9275" y="63"/>
                  <a:pt x="9275" y="63"/>
                  <a:pt x="9275" y="63"/>
                </a:cubicBezTo>
                <a:cubicBezTo>
                  <a:pt x="9275" y="0"/>
                  <a:pt x="9275" y="0"/>
                  <a:pt x="9275" y="0"/>
                </a:cubicBezTo>
                <a:cubicBezTo>
                  <a:pt x="8893" y="0"/>
                  <a:pt x="8893" y="0"/>
                  <a:pt x="8893" y="0"/>
                </a:cubicBezTo>
                <a:cubicBezTo>
                  <a:pt x="8893" y="356"/>
                  <a:pt x="8893" y="356"/>
                  <a:pt x="8893" y="356"/>
                </a:cubicBezTo>
                <a:cubicBezTo>
                  <a:pt x="9279" y="356"/>
                  <a:pt x="9279" y="356"/>
                  <a:pt x="9279" y="356"/>
                </a:cubicBezTo>
                <a:cubicBezTo>
                  <a:pt x="9279" y="290"/>
                  <a:pt x="9279" y="290"/>
                  <a:pt x="9279" y="290"/>
                </a:cubicBezTo>
                <a:lnTo>
                  <a:pt x="8980" y="290"/>
                </a:lnTo>
                <a:close/>
                <a:moveTo>
                  <a:pt x="1227" y="202"/>
                </a:moveTo>
                <a:cubicBezTo>
                  <a:pt x="1399" y="202"/>
                  <a:pt x="1399" y="202"/>
                  <a:pt x="1399" y="202"/>
                </a:cubicBezTo>
                <a:cubicBezTo>
                  <a:pt x="1399" y="141"/>
                  <a:pt x="1399" y="141"/>
                  <a:pt x="1399" y="141"/>
                </a:cubicBezTo>
                <a:cubicBezTo>
                  <a:pt x="1227" y="141"/>
                  <a:pt x="1227" y="141"/>
                  <a:pt x="1227" y="141"/>
                </a:cubicBezTo>
                <a:cubicBezTo>
                  <a:pt x="1227" y="63"/>
                  <a:pt x="1227" y="63"/>
                  <a:pt x="1227" y="63"/>
                </a:cubicBezTo>
                <a:cubicBezTo>
                  <a:pt x="1522" y="63"/>
                  <a:pt x="1522" y="63"/>
                  <a:pt x="1522" y="63"/>
                </a:cubicBezTo>
                <a:cubicBezTo>
                  <a:pt x="1522" y="0"/>
                  <a:pt x="1522" y="0"/>
                  <a:pt x="1522" y="0"/>
                </a:cubicBezTo>
                <a:cubicBezTo>
                  <a:pt x="1140" y="0"/>
                  <a:pt x="1140" y="0"/>
                  <a:pt x="1140" y="0"/>
                </a:cubicBezTo>
                <a:cubicBezTo>
                  <a:pt x="1140" y="356"/>
                  <a:pt x="1140" y="356"/>
                  <a:pt x="1140" y="356"/>
                </a:cubicBezTo>
                <a:cubicBezTo>
                  <a:pt x="1526" y="356"/>
                  <a:pt x="1526" y="356"/>
                  <a:pt x="1526" y="356"/>
                </a:cubicBezTo>
                <a:cubicBezTo>
                  <a:pt x="1526" y="290"/>
                  <a:pt x="1526" y="290"/>
                  <a:pt x="1526" y="290"/>
                </a:cubicBezTo>
                <a:cubicBezTo>
                  <a:pt x="1227" y="290"/>
                  <a:pt x="1227" y="290"/>
                  <a:pt x="1227" y="290"/>
                </a:cubicBezTo>
                <a:lnTo>
                  <a:pt x="1227" y="202"/>
                </a:lnTo>
                <a:close/>
                <a:moveTo>
                  <a:pt x="461" y="84"/>
                </a:moveTo>
                <a:cubicBezTo>
                  <a:pt x="461" y="272"/>
                  <a:pt x="461" y="272"/>
                  <a:pt x="461" y="272"/>
                </a:cubicBezTo>
                <a:cubicBezTo>
                  <a:pt x="461" y="339"/>
                  <a:pt x="438" y="356"/>
                  <a:pt x="368" y="356"/>
                </a:cubicBezTo>
                <a:cubicBezTo>
                  <a:pt x="93" y="356"/>
                  <a:pt x="93" y="356"/>
                  <a:pt x="93" y="356"/>
                </a:cubicBezTo>
                <a:cubicBezTo>
                  <a:pt x="22" y="356"/>
                  <a:pt x="0" y="339"/>
                  <a:pt x="0" y="272"/>
                </a:cubicBezTo>
                <a:cubicBezTo>
                  <a:pt x="0" y="84"/>
                  <a:pt x="0" y="84"/>
                  <a:pt x="0" y="84"/>
                </a:cubicBezTo>
                <a:cubicBezTo>
                  <a:pt x="0" y="16"/>
                  <a:pt x="23" y="0"/>
                  <a:pt x="93" y="0"/>
                </a:cubicBezTo>
                <a:cubicBezTo>
                  <a:pt x="368" y="0"/>
                  <a:pt x="368" y="0"/>
                  <a:pt x="368" y="0"/>
                </a:cubicBezTo>
                <a:cubicBezTo>
                  <a:pt x="438" y="0"/>
                  <a:pt x="461" y="16"/>
                  <a:pt x="461" y="84"/>
                </a:cubicBezTo>
                <a:close/>
                <a:moveTo>
                  <a:pt x="374" y="66"/>
                </a:moveTo>
                <a:cubicBezTo>
                  <a:pt x="87" y="66"/>
                  <a:pt x="87" y="66"/>
                  <a:pt x="87" y="66"/>
                </a:cubicBezTo>
                <a:cubicBezTo>
                  <a:pt x="87" y="288"/>
                  <a:pt x="87" y="288"/>
                  <a:pt x="87" y="288"/>
                </a:cubicBezTo>
                <a:cubicBezTo>
                  <a:pt x="374" y="288"/>
                  <a:pt x="374" y="288"/>
                  <a:pt x="374" y="288"/>
                </a:cubicBezTo>
                <a:lnTo>
                  <a:pt x="374" y="66"/>
                </a:lnTo>
                <a:close/>
                <a:moveTo>
                  <a:pt x="1015" y="69"/>
                </a:moveTo>
                <a:cubicBezTo>
                  <a:pt x="1015" y="148"/>
                  <a:pt x="1015" y="148"/>
                  <a:pt x="1015" y="148"/>
                </a:cubicBezTo>
                <a:cubicBezTo>
                  <a:pt x="1015" y="198"/>
                  <a:pt x="989" y="217"/>
                  <a:pt x="932" y="217"/>
                </a:cubicBezTo>
                <a:cubicBezTo>
                  <a:pt x="697" y="217"/>
                  <a:pt x="697" y="217"/>
                  <a:pt x="697" y="217"/>
                </a:cubicBezTo>
                <a:cubicBezTo>
                  <a:pt x="697" y="356"/>
                  <a:pt x="697" y="356"/>
                  <a:pt x="697" y="356"/>
                </a:cubicBezTo>
                <a:cubicBezTo>
                  <a:pt x="611" y="356"/>
                  <a:pt x="611" y="356"/>
                  <a:pt x="611" y="356"/>
                </a:cubicBezTo>
                <a:cubicBezTo>
                  <a:pt x="611" y="0"/>
                  <a:pt x="611" y="0"/>
                  <a:pt x="611" y="0"/>
                </a:cubicBezTo>
                <a:cubicBezTo>
                  <a:pt x="932" y="0"/>
                  <a:pt x="932" y="0"/>
                  <a:pt x="932" y="0"/>
                </a:cubicBezTo>
                <a:cubicBezTo>
                  <a:pt x="989" y="0"/>
                  <a:pt x="1015" y="19"/>
                  <a:pt x="1015" y="69"/>
                </a:cubicBezTo>
                <a:close/>
                <a:moveTo>
                  <a:pt x="934" y="90"/>
                </a:moveTo>
                <a:cubicBezTo>
                  <a:pt x="934" y="67"/>
                  <a:pt x="921" y="61"/>
                  <a:pt x="895" y="61"/>
                </a:cubicBezTo>
                <a:cubicBezTo>
                  <a:pt x="697" y="61"/>
                  <a:pt x="697" y="61"/>
                  <a:pt x="697" y="61"/>
                </a:cubicBezTo>
                <a:cubicBezTo>
                  <a:pt x="697" y="156"/>
                  <a:pt x="697" y="156"/>
                  <a:pt x="697" y="156"/>
                </a:cubicBezTo>
                <a:cubicBezTo>
                  <a:pt x="895" y="156"/>
                  <a:pt x="895" y="156"/>
                  <a:pt x="895" y="156"/>
                </a:cubicBezTo>
                <a:cubicBezTo>
                  <a:pt x="921" y="156"/>
                  <a:pt x="934" y="151"/>
                  <a:pt x="934" y="127"/>
                </a:cubicBezTo>
                <a:lnTo>
                  <a:pt x="934" y="90"/>
                </a:lnTo>
                <a:close/>
                <a:moveTo>
                  <a:pt x="8648" y="356"/>
                </a:moveTo>
                <a:cubicBezTo>
                  <a:pt x="8735" y="356"/>
                  <a:pt x="8735" y="356"/>
                  <a:pt x="8735" y="356"/>
                </a:cubicBezTo>
                <a:cubicBezTo>
                  <a:pt x="8735" y="0"/>
                  <a:pt x="8735" y="0"/>
                  <a:pt x="8735" y="0"/>
                </a:cubicBezTo>
                <a:cubicBezTo>
                  <a:pt x="8648" y="0"/>
                  <a:pt x="8648" y="0"/>
                  <a:pt x="8648" y="0"/>
                </a:cubicBezTo>
                <a:lnTo>
                  <a:pt x="8648" y="356"/>
                </a:lnTo>
                <a:close/>
                <a:moveTo>
                  <a:pt x="6051" y="237"/>
                </a:moveTo>
                <a:cubicBezTo>
                  <a:pt x="5749" y="0"/>
                  <a:pt x="5749" y="0"/>
                  <a:pt x="5749" y="0"/>
                </a:cubicBezTo>
                <a:cubicBezTo>
                  <a:pt x="5689" y="0"/>
                  <a:pt x="5689" y="0"/>
                  <a:pt x="5689" y="0"/>
                </a:cubicBezTo>
                <a:cubicBezTo>
                  <a:pt x="5689" y="356"/>
                  <a:pt x="5689" y="356"/>
                  <a:pt x="5689" y="356"/>
                </a:cubicBezTo>
                <a:cubicBezTo>
                  <a:pt x="5768" y="356"/>
                  <a:pt x="5768" y="356"/>
                  <a:pt x="5768" y="356"/>
                </a:cubicBezTo>
                <a:cubicBezTo>
                  <a:pt x="5768" y="116"/>
                  <a:pt x="5768" y="116"/>
                  <a:pt x="5768" y="116"/>
                </a:cubicBezTo>
                <a:cubicBezTo>
                  <a:pt x="6070" y="356"/>
                  <a:pt x="6070" y="356"/>
                  <a:pt x="6070" y="356"/>
                </a:cubicBezTo>
                <a:cubicBezTo>
                  <a:pt x="6129" y="356"/>
                  <a:pt x="6129" y="356"/>
                  <a:pt x="6129" y="356"/>
                </a:cubicBezTo>
                <a:cubicBezTo>
                  <a:pt x="6129" y="0"/>
                  <a:pt x="6129" y="0"/>
                  <a:pt x="6129" y="0"/>
                </a:cubicBezTo>
                <a:cubicBezTo>
                  <a:pt x="6051" y="0"/>
                  <a:pt x="6051" y="0"/>
                  <a:pt x="6051" y="0"/>
                </a:cubicBezTo>
                <a:lnTo>
                  <a:pt x="6051" y="237"/>
                </a:lnTo>
                <a:close/>
                <a:moveTo>
                  <a:pt x="5444" y="0"/>
                </a:moveTo>
                <a:cubicBezTo>
                  <a:pt x="5444" y="178"/>
                  <a:pt x="5444" y="178"/>
                  <a:pt x="5444" y="178"/>
                </a:cubicBezTo>
                <a:cubicBezTo>
                  <a:pt x="5444" y="356"/>
                  <a:pt x="5444" y="356"/>
                  <a:pt x="5444" y="356"/>
                </a:cubicBezTo>
                <a:cubicBezTo>
                  <a:pt x="5487" y="356"/>
                  <a:pt x="5487" y="356"/>
                  <a:pt x="5487" y="356"/>
                </a:cubicBezTo>
                <a:cubicBezTo>
                  <a:pt x="5531" y="356"/>
                  <a:pt x="5531" y="356"/>
                  <a:pt x="5531" y="356"/>
                </a:cubicBezTo>
                <a:cubicBezTo>
                  <a:pt x="5531" y="178"/>
                  <a:pt x="5531" y="178"/>
                  <a:pt x="5531" y="178"/>
                </a:cubicBezTo>
                <a:cubicBezTo>
                  <a:pt x="5531" y="0"/>
                  <a:pt x="5531" y="0"/>
                  <a:pt x="5531" y="0"/>
                </a:cubicBezTo>
                <a:cubicBezTo>
                  <a:pt x="5531" y="0"/>
                  <a:pt x="5531" y="0"/>
                  <a:pt x="5531" y="0"/>
                </a:cubicBezTo>
                <a:cubicBezTo>
                  <a:pt x="5444" y="0"/>
                  <a:pt x="5444" y="0"/>
                  <a:pt x="5444" y="0"/>
                </a:cubicBezTo>
                <a:close/>
                <a:moveTo>
                  <a:pt x="6288" y="356"/>
                </a:moveTo>
                <a:cubicBezTo>
                  <a:pt x="6375" y="356"/>
                  <a:pt x="6375" y="356"/>
                  <a:pt x="6375" y="356"/>
                </a:cubicBezTo>
                <a:cubicBezTo>
                  <a:pt x="6375" y="0"/>
                  <a:pt x="6375" y="0"/>
                  <a:pt x="6375" y="0"/>
                </a:cubicBezTo>
                <a:cubicBezTo>
                  <a:pt x="6288" y="0"/>
                  <a:pt x="6288" y="0"/>
                  <a:pt x="6288" y="0"/>
                </a:cubicBezTo>
                <a:lnTo>
                  <a:pt x="6288" y="356"/>
                </a:lnTo>
                <a:close/>
                <a:moveTo>
                  <a:pt x="5042" y="211"/>
                </a:moveTo>
                <a:cubicBezTo>
                  <a:pt x="4868" y="0"/>
                  <a:pt x="4868" y="0"/>
                  <a:pt x="4868" y="0"/>
                </a:cubicBezTo>
                <a:cubicBezTo>
                  <a:pt x="4798" y="0"/>
                  <a:pt x="4798" y="0"/>
                  <a:pt x="4798" y="0"/>
                </a:cubicBezTo>
                <a:cubicBezTo>
                  <a:pt x="4798" y="356"/>
                  <a:pt x="4798" y="356"/>
                  <a:pt x="4798" y="356"/>
                </a:cubicBezTo>
                <a:cubicBezTo>
                  <a:pt x="4868" y="356"/>
                  <a:pt x="4868" y="356"/>
                  <a:pt x="4868" y="356"/>
                </a:cubicBezTo>
                <a:cubicBezTo>
                  <a:pt x="4868" y="117"/>
                  <a:pt x="4868" y="117"/>
                  <a:pt x="4868" y="117"/>
                </a:cubicBezTo>
                <a:cubicBezTo>
                  <a:pt x="5029" y="313"/>
                  <a:pt x="5029" y="313"/>
                  <a:pt x="5029" y="313"/>
                </a:cubicBezTo>
                <a:cubicBezTo>
                  <a:pt x="5046" y="313"/>
                  <a:pt x="5046" y="313"/>
                  <a:pt x="5046" y="313"/>
                </a:cubicBezTo>
                <a:cubicBezTo>
                  <a:pt x="5205" y="111"/>
                  <a:pt x="5205" y="111"/>
                  <a:pt x="5205" y="111"/>
                </a:cubicBezTo>
                <a:cubicBezTo>
                  <a:pt x="5205" y="356"/>
                  <a:pt x="5205" y="356"/>
                  <a:pt x="5205" y="356"/>
                </a:cubicBezTo>
                <a:cubicBezTo>
                  <a:pt x="5286" y="356"/>
                  <a:pt x="5286" y="356"/>
                  <a:pt x="5286" y="356"/>
                </a:cubicBezTo>
                <a:cubicBezTo>
                  <a:pt x="5286" y="0"/>
                  <a:pt x="5286" y="0"/>
                  <a:pt x="5286" y="0"/>
                </a:cubicBezTo>
                <a:cubicBezTo>
                  <a:pt x="5216" y="0"/>
                  <a:pt x="5216" y="0"/>
                  <a:pt x="5216" y="0"/>
                </a:cubicBezTo>
                <a:lnTo>
                  <a:pt x="5042" y="211"/>
                </a:lnTo>
                <a:close/>
                <a:moveTo>
                  <a:pt x="3589" y="0"/>
                </a:moveTo>
                <a:cubicBezTo>
                  <a:pt x="3804" y="356"/>
                  <a:pt x="3804" y="356"/>
                  <a:pt x="3804" y="356"/>
                </a:cubicBezTo>
                <a:cubicBezTo>
                  <a:pt x="3706" y="356"/>
                  <a:pt x="3706" y="356"/>
                  <a:pt x="3706" y="356"/>
                </a:cubicBezTo>
                <a:cubicBezTo>
                  <a:pt x="3662" y="278"/>
                  <a:pt x="3662" y="278"/>
                  <a:pt x="3662" y="278"/>
                </a:cubicBezTo>
                <a:cubicBezTo>
                  <a:pt x="3426" y="278"/>
                  <a:pt x="3426" y="278"/>
                  <a:pt x="3426" y="278"/>
                </a:cubicBezTo>
                <a:cubicBezTo>
                  <a:pt x="3381" y="356"/>
                  <a:pt x="3381" y="356"/>
                  <a:pt x="3381" y="356"/>
                </a:cubicBezTo>
                <a:cubicBezTo>
                  <a:pt x="3294" y="356"/>
                  <a:pt x="3294" y="356"/>
                  <a:pt x="3294" y="356"/>
                </a:cubicBezTo>
                <a:cubicBezTo>
                  <a:pt x="3506" y="0"/>
                  <a:pt x="3506" y="0"/>
                  <a:pt x="3506" y="0"/>
                </a:cubicBezTo>
                <a:lnTo>
                  <a:pt x="3589" y="0"/>
                </a:lnTo>
                <a:close/>
                <a:moveTo>
                  <a:pt x="3626" y="213"/>
                </a:moveTo>
                <a:cubicBezTo>
                  <a:pt x="3543" y="65"/>
                  <a:pt x="3543" y="65"/>
                  <a:pt x="3543" y="65"/>
                </a:cubicBezTo>
                <a:cubicBezTo>
                  <a:pt x="3463" y="213"/>
                  <a:pt x="3463" y="213"/>
                  <a:pt x="3463" y="213"/>
                </a:cubicBezTo>
                <a:lnTo>
                  <a:pt x="3626" y="213"/>
                </a:lnTo>
                <a:close/>
                <a:moveTo>
                  <a:pt x="7676" y="202"/>
                </a:moveTo>
                <a:cubicBezTo>
                  <a:pt x="7848" y="202"/>
                  <a:pt x="7848" y="202"/>
                  <a:pt x="7848" y="202"/>
                </a:cubicBezTo>
                <a:cubicBezTo>
                  <a:pt x="7848" y="141"/>
                  <a:pt x="7848" y="141"/>
                  <a:pt x="7848" y="141"/>
                </a:cubicBezTo>
                <a:cubicBezTo>
                  <a:pt x="7676" y="141"/>
                  <a:pt x="7676" y="141"/>
                  <a:pt x="7676" y="141"/>
                </a:cubicBezTo>
                <a:cubicBezTo>
                  <a:pt x="7676" y="63"/>
                  <a:pt x="7676" y="63"/>
                  <a:pt x="7676" y="63"/>
                </a:cubicBezTo>
                <a:cubicBezTo>
                  <a:pt x="7971" y="63"/>
                  <a:pt x="7971" y="63"/>
                  <a:pt x="7971" y="63"/>
                </a:cubicBezTo>
                <a:cubicBezTo>
                  <a:pt x="7971" y="0"/>
                  <a:pt x="7971" y="0"/>
                  <a:pt x="7971" y="0"/>
                </a:cubicBezTo>
                <a:cubicBezTo>
                  <a:pt x="7589" y="0"/>
                  <a:pt x="7589" y="0"/>
                  <a:pt x="7589" y="0"/>
                </a:cubicBezTo>
                <a:cubicBezTo>
                  <a:pt x="7589" y="356"/>
                  <a:pt x="7589" y="356"/>
                  <a:pt x="7589" y="356"/>
                </a:cubicBezTo>
                <a:cubicBezTo>
                  <a:pt x="7975" y="356"/>
                  <a:pt x="7975" y="356"/>
                  <a:pt x="7975" y="356"/>
                </a:cubicBezTo>
                <a:cubicBezTo>
                  <a:pt x="7975" y="290"/>
                  <a:pt x="7975" y="290"/>
                  <a:pt x="7975" y="290"/>
                </a:cubicBezTo>
                <a:cubicBezTo>
                  <a:pt x="7676" y="290"/>
                  <a:pt x="7676" y="290"/>
                  <a:pt x="7676" y="290"/>
                </a:cubicBezTo>
                <a:lnTo>
                  <a:pt x="7676" y="202"/>
                </a:lnTo>
                <a:close/>
                <a:moveTo>
                  <a:pt x="4164" y="221"/>
                </a:moveTo>
                <a:cubicBezTo>
                  <a:pt x="4334" y="356"/>
                  <a:pt x="4334" y="356"/>
                  <a:pt x="4334" y="356"/>
                </a:cubicBezTo>
                <a:cubicBezTo>
                  <a:pt x="4209" y="356"/>
                  <a:pt x="4209" y="356"/>
                  <a:pt x="4209" y="356"/>
                </a:cubicBezTo>
                <a:cubicBezTo>
                  <a:pt x="4060" y="221"/>
                  <a:pt x="4060" y="221"/>
                  <a:pt x="4060" y="221"/>
                </a:cubicBezTo>
                <a:cubicBezTo>
                  <a:pt x="3978" y="221"/>
                  <a:pt x="3978" y="221"/>
                  <a:pt x="3978" y="221"/>
                </a:cubicBezTo>
                <a:cubicBezTo>
                  <a:pt x="3978" y="356"/>
                  <a:pt x="3978" y="356"/>
                  <a:pt x="3978" y="356"/>
                </a:cubicBezTo>
                <a:cubicBezTo>
                  <a:pt x="3892" y="356"/>
                  <a:pt x="3892" y="356"/>
                  <a:pt x="3892" y="356"/>
                </a:cubicBezTo>
                <a:cubicBezTo>
                  <a:pt x="3892" y="0"/>
                  <a:pt x="3892" y="0"/>
                  <a:pt x="3892" y="0"/>
                </a:cubicBezTo>
                <a:cubicBezTo>
                  <a:pt x="4213" y="0"/>
                  <a:pt x="4213" y="0"/>
                  <a:pt x="4213" y="0"/>
                </a:cubicBezTo>
                <a:cubicBezTo>
                  <a:pt x="4270" y="0"/>
                  <a:pt x="4296" y="19"/>
                  <a:pt x="4296" y="69"/>
                </a:cubicBezTo>
                <a:cubicBezTo>
                  <a:pt x="4296" y="153"/>
                  <a:pt x="4296" y="153"/>
                  <a:pt x="4296" y="153"/>
                </a:cubicBezTo>
                <a:cubicBezTo>
                  <a:pt x="4296" y="202"/>
                  <a:pt x="4270" y="221"/>
                  <a:pt x="4213" y="221"/>
                </a:cubicBezTo>
                <a:lnTo>
                  <a:pt x="4164" y="221"/>
                </a:lnTo>
                <a:close/>
                <a:moveTo>
                  <a:pt x="4176" y="160"/>
                </a:moveTo>
                <a:cubicBezTo>
                  <a:pt x="4202" y="160"/>
                  <a:pt x="4216" y="155"/>
                  <a:pt x="4216" y="131"/>
                </a:cubicBezTo>
                <a:cubicBezTo>
                  <a:pt x="4216" y="90"/>
                  <a:pt x="4216" y="90"/>
                  <a:pt x="4216" y="90"/>
                </a:cubicBezTo>
                <a:cubicBezTo>
                  <a:pt x="4216" y="67"/>
                  <a:pt x="4202" y="61"/>
                  <a:pt x="4176" y="61"/>
                </a:cubicBezTo>
                <a:cubicBezTo>
                  <a:pt x="3978" y="61"/>
                  <a:pt x="3978" y="61"/>
                  <a:pt x="3978" y="61"/>
                </a:cubicBezTo>
                <a:cubicBezTo>
                  <a:pt x="3978" y="160"/>
                  <a:pt x="3978" y="160"/>
                  <a:pt x="3978" y="160"/>
                </a:cubicBezTo>
                <a:lnTo>
                  <a:pt x="4176" y="160"/>
                </a:lnTo>
                <a:close/>
                <a:moveTo>
                  <a:pt x="3015" y="0"/>
                </a:moveTo>
                <a:cubicBezTo>
                  <a:pt x="3230" y="356"/>
                  <a:pt x="3230" y="356"/>
                  <a:pt x="3230" y="356"/>
                </a:cubicBezTo>
                <a:cubicBezTo>
                  <a:pt x="3132" y="356"/>
                  <a:pt x="3132" y="356"/>
                  <a:pt x="3132" y="356"/>
                </a:cubicBezTo>
                <a:cubicBezTo>
                  <a:pt x="3088" y="278"/>
                  <a:pt x="3088" y="278"/>
                  <a:pt x="3088" y="278"/>
                </a:cubicBezTo>
                <a:cubicBezTo>
                  <a:pt x="2852" y="278"/>
                  <a:pt x="2852" y="278"/>
                  <a:pt x="2852" y="278"/>
                </a:cubicBezTo>
                <a:cubicBezTo>
                  <a:pt x="2807" y="356"/>
                  <a:pt x="2807" y="356"/>
                  <a:pt x="2807" y="356"/>
                </a:cubicBezTo>
                <a:cubicBezTo>
                  <a:pt x="2721" y="356"/>
                  <a:pt x="2721" y="356"/>
                  <a:pt x="2721" y="356"/>
                </a:cubicBezTo>
                <a:cubicBezTo>
                  <a:pt x="2932" y="0"/>
                  <a:pt x="2932" y="0"/>
                  <a:pt x="2932" y="0"/>
                </a:cubicBezTo>
                <a:lnTo>
                  <a:pt x="3015" y="0"/>
                </a:lnTo>
                <a:close/>
                <a:moveTo>
                  <a:pt x="3052" y="213"/>
                </a:moveTo>
                <a:cubicBezTo>
                  <a:pt x="2969" y="65"/>
                  <a:pt x="2969" y="65"/>
                  <a:pt x="2969" y="65"/>
                </a:cubicBezTo>
                <a:cubicBezTo>
                  <a:pt x="2889" y="213"/>
                  <a:pt x="2889" y="213"/>
                  <a:pt x="2889" y="213"/>
                </a:cubicBezTo>
                <a:lnTo>
                  <a:pt x="3052" y="213"/>
                </a:lnTo>
                <a:close/>
                <a:moveTo>
                  <a:pt x="7046" y="64"/>
                </a:moveTo>
                <a:cubicBezTo>
                  <a:pt x="7217" y="64"/>
                  <a:pt x="7217" y="64"/>
                  <a:pt x="7217" y="64"/>
                </a:cubicBezTo>
                <a:cubicBezTo>
                  <a:pt x="7217" y="356"/>
                  <a:pt x="7217" y="356"/>
                  <a:pt x="7217" y="356"/>
                </a:cubicBezTo>
                <a:cubicBezTo>
                  <a:pt x="7304" y="356"/>
                  <a:pt x="7304" y="356"/>
                  <a:pt x="7304" y="356"/>
                </a:cubicBezTo>
                <a:cubicBezTo>
                  <a:pt x="7304" y="64"/>
                  <a:pt x="7304" y="64"/>
                  <a:pt x="7304" y="64"/>
                </a:cubicBezTo>
                <a:cubicBezTo>
                  <a:pt x="7477" y="64"/>
                  <a:pt x="7477" y="64"/>
                  <a:pt x="7477" y="64"/>
                </a:cubicBezTo>
                <a:cubicBezTo>
                  <a:pt x="7477" y="0"/>
                  <a:pt x="7477" y="0"/>
                  <a:pt x="7477" y="0"/>
                </a:cubicBezTo>
                <a:cubicBezTo>
                  <a:pt x="7046" y="0"/>
                  <a:pt x="7046" y="0"/>
                  <a:pt x="7046" y="0"/>
                </a:cubicBezTo>
                <a:lnTo>
                  <a:pt x="704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1" name="Rectangle 8"/>
          <p:cNvSpPr>
            <a:spLocks noSelect="1" noChangeArrowheads="1"/>
          </p:cNvSpPr>
          <p:nvPr userDrawn="1"/>
        </p:nvSpPr>
        <p:spPr bwMode="gray">
          <a:xfrm>
            <a:off x="0" y="3429000"/>
            <a:ext cx="12189600" cy="3429000"/>
          </a:xfrm>
          <a:prstGeom prst="rect">
            <a:avLst/>
          </a:prstGeom>
          <a:solidFill>
            <a:schemeClr val="accent4"/>
          </a:solidFill>
          <a:ln>
            <a:noFill/>
          </a:ln>
          <a:effectLst/>
        </p:spPr>
        <p:txBody>
          <a:bodyPr wrap="none" anchor="ctr"/>
          <a:lstStyle/>
          <a:p>
            <a:pPr eaLnBrk="1" hangingPunct="1">
              <a:defRPr/>
            </a:pPr>
            <a:endParaRPr lang="nl-NL" sz="2142" dirty="0">
              <a:latin typeface="Arial Black" charset="0"/>
            </a:endParaRPr>
          </a:p>
        </p:txBody>
      </p:sp>
      <p:sp>
        <p:nvSpPr>
          <p:cNvPr id="2" name="***Titel 1"/>
          <p:cNvSpPr>
            <a:spLocks noGrp="1" noSelect="1"/>
          </p:cNvSpPr>
          <p:nvPr>
            <p:ph type="ctrTitle" hasCustomPrompt="1"/>
          </p:nvPr>
        </p:nvSpPr>
        <p:spPr bwMode="gray">
          <a:xfrm>
            <a:off x="1077861" y="3913999"/>
            <a:ext cx="10040516" cy="685952"/>
          </a:xfrm>
        </p:spPr>
        <p:txBody>
          <a:bodyPr anchor="t" anchorCtr="0"/>
          <a:lstStyle>
            <a:lvl1pPr algn="l">
              <a:defRPr sz="3600">
                <a:solidFill>
                  <a:srgbClr val="FFFFFF"/>
                </a:solidFill>
              </a:defRPr>
            </a:lvl1pPr>
          </a:lstStyle>
          <a:p>
            <a:r>
              <a:rPr lang="nl-NL" noProof="1"/>
              <a:t>[Titel]</a:t>
            </a:r>
          </a:p>
        </p:txBody>
      </p:sp>
      <p:sp>
        <p:nvSpPr>
          <p:cNvPr id="3" name="Ondertitel 2"/>
          <p:cNvSpPr>
            <a:spLocks noGrp="1" noSelect="1"/>
          </p:cNvSpPr>
          <p:nvPr>
            <p:ph type="subTitle" idx="1" hasCustomPrompt="1"/>
          </p:nvPr>
        </p:nvSpPr>
        <p:spPr bwMode="gray">
          <a:xfrm>
            <a:off x="1089134" y="4863460"/>
            <a:ext cx="10029243" cy="546598"/>
          </a:xfrm>
        </p:spPr>
        <p:txBody>
          <a:bodyPr/>
          <a:lstStyle>
            <a:lvl1pPr marL="0" indent="0" algn="l">
              <a:buNone/>
              <a:defRPr>
                <a:solidFill>
                  <a:srgbClr val="FFFFFF"/>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nl-NL" noProof="1"/>
              <a:t>[Subtitel]</a:t>
            </a:r>
          </a:p>
        </p:txBody>
      </p:sp>
      <p:sp>
        <p:nvSpPr>
          <p:cNvPr id="4" name="Tijdelijke aanduiding voor datum 3"/>
          <p:cNvSpPr>
            <a:spLocks noGrp="1" noSelect="1"/>
          </p:cNvSpPr>
          <p:nvPr>
            <p:ph type="dt" sz="half" idx="10"/>
          </p:nvPr>
        </p:nvSpPr>
        <p:spPr bwMode="gray"/>
        <p:txBody>
          <a:bodyPr/>
          <a:lstStyle/>
          <a:p>
            <a:fld id="{7C806373-EEC1-40A6-88B0-0378453CBB9D}" type="datetime4">
              <a:rPr lang="nl-NL" noProof="1" smtClean="0"/>
              <a:t>22 september 2022</a:t>
            </a:fld>
            <a:endParaRPr lang="nl-NL" noProof="1"/>
          </a:p>
        </p:txBody>
      </p:sp>
      <p:sp>
        <p:nvSpPr>
          <p:cNvPr id="5" name="Tijdelijke aanduiding voor voettekst 4"/>
          <p:cNvSpPr>
            <a:spLocks noGrp="1" noSelect="1"/>
          </p:cNvSpPr>
          <p:nvPr>
            <p:ph type="ftr" sz="quarter" idx="11"/>
          </p:nvPr>
        </p:nvSpPr>
        <p:spPr>
          <a:xfrm>
            <a:off x="1080000" y="2217600"/>
            <a:ext cx="10116000" cy="307765"/>
          </a:xfrm>
        </p:spPr>
        <p:txBody>
          <a:bodyPr/>
          <a:lstStyle/>
          <a:p>
            <a:r>
              <a:rPr lang="nl-NL" noProof="1"/>
              <a:t>[Plaats hier de aanduiding van het OM onderdeel]</a:t>
            </a:r>
          </a:p>
        </p:txBody>
      </p:sp>
      <p:sp>
        <p:nvSpPr>
          <p:cNvPr id="12" name="Rechthoek 11"/>
          <p:cNvSpPr>
            <a:spLocks noSelect="1"/>
          </p:cNvSpPr>
          <p:nvPr userDrawn="1"/>
        </p:nvSpPr>
        <p:spPr>
          <a:xfrm>
            <a:off x="-1285778" y="189362"/>
            <a:ext cx="1170156" cy="2520336"/>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nl-NL" sz="1000" dirty="0">
                <a:solidFill>
                  <a:schemeClr val="tx1"/>
                </a:solidFill>
              </a:rPr>
              <a:t>Via Invoegen | Koptekst en voettekst kan de datum, paginanummer en aanduiding</a:t>
            </a:r>
            <a:r>
              <a:rPr lang="nl-NL" sz="1000" baseline="0" dirty="0">
                <a:solidFill>
                  <a:schemeClr val="tx1"/>
                </a:solidFill>
              </a:rPr>
              <a:t> van het OM onderdeel geplaatst worden.</a:t>
            </a:r>
          </a:p>
          <a:p>
            <a:pPr algn="l"/>
            <a:endParaRPr lang="nl-NL" sz="1000" baseline="0" dirty="0">
              <a:solidFill>
                <a:schemeClr val="tx1"/>
              </a:solidFill>
            </a:endParaRPr>
          </a:p>
          <a:p>
            <a:pPr algn="l"/>
            <a:r>
              <a:rPr lang="nl-NL" sz="1000" baseline="0" dirty="0">
                <a:solidFill>
                  <a:schemeClr val="tx1"/>
                </a:solidFill>
              </a:rPr>
              <a:t>Dit instructie vak is niet te zien tijdens de presentatie.</a:t>
            </a:r>
            <a:endParaRPr lang="nl-NL" sz="1000" dirty="0">
              <a:solidFill>
                <a:schemeClr val="tx1"/>
              </a:solidFill>
            </a:endParaRPr>
          </a:p>
        </p:txBody>
      </p:sp>
      <p:sp>
        <p:nvSpPr>
          <p:cNvPr id="13" name="***Spreker"/>
          <p:cNvSpPr>
            <a:spLocks noGrp="1" noSelect="1"/>
          </p:cNvSpPr>
          <p:nvPr>
            <p:ph type="body" sz="quarter" idx="12" hasCustomPrompt="1"/>
          </p:nvPr>
        </p:nvSpPr>
        <p:spPr>
          <a:xfrm>
            <a:off x="1080000" y="720000"/>
            <a:ext cx="10080000" cy="457200"/>
          </a:xfrm>
        </p:spPr>
        <p:txBody>
          <a:bodyPr/>
          <a:lstStyle>
            <a:lvl1pPr marL="0" indent="0">
              <a:spcBef>
                <a:spcPts val="0"/>
              </a:spcBef>
              <a:spcAft>
                <a:spcPts val="0"/>
              </a:spcAft>
              <a:buNone/>
              <a:defRPr b="1" i="0"/>
            </a:lvl1pPr>
            <a:lvl2pPr marL="0" indent="0">
              <a:spcBef>
                <a:spcPts val="0"/>
              </a:spcBef>
              <a:spcAft>
                <a:spcPts val="0"/>
              </a:spcAft>
              <a:buNone/>
              <a:defRPr b="1" i="0"/>
            </a:lvl2pPr>
            <a:lvl3pPr marL="0" indent="0">
              <a:spcBef>
                <a:spcPts val="0"/>
              </a:spcBef>
              <a:spcAft>
                <a:spcPts val="0"/>
              </a:spcAft>
              <a:buNone/>
              <a:defRPr b="1" i="0"/>
            </a:lvl3pPr>
            <a:lvl4pPr marL="0" indent="0">
              <a:spcBef>
                <a:spcPts val="0"/>
              </a:spcBef>
              <a:spcAft>
                <a:spcPts val="0"/>
              </a:spcAft>
              <a:buFont typeface="Arial" panose="020B0604020202020204" pitchFamily="34" charset="0"/>
              <a:buNone/>
              <a:defRPr b="1" i="0"/>
            </a:lvl4pPr>
            <a:lvl5pPr marL="0" indent="0">
              <a:spcBef>
                <a:spcPts val="0"/>
              </a:spcBef>
              <a:spcAft>
                <a:spcPts val="0"/>
              </a:spcAft>
              <a:buFont typeface="Arial" panose="020B0604020202020204" pitchFamily="34" charset="0"/>
              <a:buNone/>
              <a:defRPr b="1" i="0"/>
            </a:lvl5pPr>
            <a:lvl6pPr marL="0" indent="0">
              <a:spcBef>
                <a:spcPts val="0"/>
              </a:spcBef>
              <a:spcAft>
                <a:spcPts val="0"/>
              </a:spcAft>
              <a:buFont typeface="Arial" panose="020B0604020202020204" pitchFamily="34" charset="0"/>
              <a:buNone/>
              <a:defRPr b="1" i="0"/>
            </a:lvl6pPr>
            <a:lvl7pPr marL="0" indent="0">
              <a:spcBef>
                <a:spcPts val="0"/>
              </a:spcBef>
              <a:spcAft>
                <a:spcPts val="0"/>
              </a:spcAft>
              <a:buFont typeface="Arial" panose="020B0604020202020204" pitchFamily="34" charset="0"/>
              <a:buNone/>
              <a:defRPr b="1" i="0"/>
            </a:lvl7pPr>
            <a:lvl8pPr marL="0" indent="0">
              <a:spcBef>
                <a:spcPts val="0"/>
              </a:spcBef>
              <a:spcAft>
                <a:spcPts val="0"/>
              </a:spcAft>
              <a:buFont typeface="Arial" panose="020B0604020202020204" pitchFamily="34" charset="0"/>
              <a:buNone/>
              <a:defRPr b="1" i="0"/>
            </a:lvl8pPr>
            <a:lvl9pPr marL="0" indent="0">
              <a:spcBef>
                <a:spcPts val="0"/>
              </a:spcBef>
              <a:spcAft>
                <a:spcPts val="0"/>
              </a:spcAft>
              <a:buFont typeface="Arial" panose="020B0604020202020204" pitchFamily="34" charset="0"/>
              <a:buNone/>
              <a:defRPr b="1" i="0"/>
            </a:lvl9pPr>
          </a:lstStyle>
          <a:p>
            <a:pPr lvl="0"/>
            <a:r>
              <a:rPr lang="nl-NL" dirty="0"/>
              <a:t>[Naam spreker]</a:t>
            </a:r>
          </a:p>
          <a:p>
            <a:pPr lvl="0"/>
            <a:endParaRPr lang="nl-NL" dirty="0"/>
          </a:p>
        </p:txBody>
      </p:sp>
    </p:spTree>
    <p:extLst>
      <p:ext uri="{BB962C8B-B14F-4D97-AF65-F5344CB8AC3E}">
        <p14:creationId xmlns:p14="http://schemas.microsoft.com/office/powerpoint/2010/main" val="11741326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en 2 kaders">
    <p:spTree>
      <p:nvGrpSpPr>
        <p:cNvPr id="1" name=""/>
        <p:cNvGrpSpPr/>
        <p:nvPr/>
      </p:nvGrpSpPr>
      <p:grpSpPr>
        <a:xfrm>
          <a:off x="0" y="0"/>
          <a:ext cx="0" cy="0"/>
          <a:chOff x="0" y="0"/>
          <a:chExt cx="0" cy="0"/>
        </a:xfrm>
      </p:grpSpPr>
      <p:sp>
        <p:nvSpPr>
          <p:cNvPr id="9" name="Tijdelijke aanduiding voor inhoud 8"/>
          <p:cNvSpPr>
            <a:spLocks noGrp="1" noSelect="1"/>
          </p:cNvSpPr>
          <p:nvPr>
            <p:ph sz="quarter" idx="13" hasCustomPrompt="1"/>
          </p:nvPr>
        </p:nvSpPr>
        <p:spPr bwMode="gray">
          <a:xfrm>
            <a:off x="1080000" y="1893600"/>
            <a:ext cx="4842000" cy="3888000"/>
          </a:xfrm>
        </p:spPr>
        <p:txBody>
          <a:bodyPr/>
          <a:lstStyle>
            <a:lvl1pPr>
              <a:defRPr/>
            </a:lvl1pPr>
          </a:lstStyle>
          <a:p>
            <a:pPr lvl="0"/>
            <a:r>
              <a:rPr lang="nl-NL" noProof="1"/>
              <a:t>[Typ tekst of klik op een pictogram om een object in te voegen]</a:t>
            </a:r>
          </a:p>
        </p:txBody>
      </p:sp>
      <p:sp>
        <p:nvSpPr>
          <p:cNvPr id="8" name="Titel 7"/>
          <p:cNvSpPr>
            <a:spLocks noGrp="1" noSelect="1"/>
          </p:cNvSpPr>
          <p:nvPr>
            <p:ph type="title" hasCustomPrompt="1"/>
          </p:nvPr>
        </p:nvSpPr>
        <p:spPr bwMode="gray">
          <a:xfrm>
            <a:off x="1081183" y="572872"/>
            <a:ext cx="10080000" cy="868556"/>
          </a:xfrm>
        </p:spPr>
        <p:txBody>
          <a:bodyPr/>
          <a:lstStyle/>
          <a:p>
            <a:r>
              <a:rPr lang="nl-NL" noProof="1"/>
              <a:t>[Titel]</a:t>
            </a:r>
            <a:endParaRPr lang="nl-NL" dirty="0"/>
          </a:p>
        </p:txBody>
      </p:sp>
      <p:sp>
        <p:nvSpPr>
          <p:cNvPr id="27" name="Tijdelijke aanduiding voor inhoud 8"/>
          <p:cNvSpPr>
            <a:spLocks noGrp="1" noSelect="1"/>
          </p:cNvSpPr>
          <p:nvPr>
            <p:ph sz="quarter" idx="18" hasCustomPrompt="1"/>
          </p:nvPr>
        </p:nvSpPr>
        <p:spPr bwMode="gray">
          <a:xfrm>
            <a:off x="6318037" y="1893600"/>
            <a:ext cx="4843146" cy="3888000"/>
          </a:xfrm>
        </p:spPr>
        <p:txBody>
          <a:bodyPr/>
          <a:lstStyle>
            <a:lvl1pPr>
              <a:defRPr/>
            </a:lvl1pPr>
          </a:lstStyle>
          <a:p>
            <a:pPr lvl="0"/>
            <a:r>
              <a:rPr lang="nl-NL" noProof="1"/>
              <a:t>[Typ tekst of klik op een pictogram om een object in te voegen]</a:t>
            </a:r>
          </a:p>
        </p:txBody>
      </p:sp>
      <p:sp>
        <p:nvSpPr>
          <p:cNvPr id="2" name="Tijdelijke aanduiding voor datum 1"/>
          <p:cNvSpPr>
            <a:spLocks noGrp="1" noSelect="1"/>
          </p:cNvSpPr>
          <p:nvPr>
            <p:ph type="dt" sz="half" idx="19"/>
          </p:nvPr>
        </p:nvSpPr>
        <p:spPr bwMode="gray"/>
        <p:txBody>
          <a:bodyPr/>
          <a:lstStyle/>
          <a:p>
            <a:fld id="{A91D497D-9F5E-4F7D-99C4-2B37BF08694F}" type="datetime4">
              <a:rPr lang="nl-NL" noProof="1" smtClean="0"/>
              <a:t>22 september 2022</a:t>
            </a:fld>
            <a:endParaRPr lang="nl-NL" noProof="1"/>
          </a:p>
        </p:txBody>
      </p:sp>
      <p:sp>
        <p:nvSpPr>
          <p:cNvPr id="3" name="Tijdelijke aanduiding voor voettekst 2"/>
          <p:cNvSpPr>
            <a:spLocks noGrp="1" noSelect="1"/>
          </p:cNvSpPr>
          <p:nvPr>
            <p:ph type="ftr" sz="quarter" idx="20"/>
          </p:nvPr>
        </p:nvSpPr>
        <p:spPr bwMode="gray"/>
        <p:txBody>
          <a:bodyPr/>
          <a:lstStyle/>
          <a:p>
            <a:r>
              <a:rPr lang="nl-NL" noProof="1"/>
              <a:t>[Plaats hier de aanduiding van het OM onderdeel]</a:t>
            </a:r>
          </a:p>
        </p:txBody>
      </p:sp>
      <p:sp>
        <p:nvSpPr>
          <p:cNvPr id="4" name="Tijdelijke aanduiding voor dianummer 3"/>
          <p:cNvSpPr>
            <a:spLocks noGrp="1" noSelect="1"/>
          </p:cNvSpPr>
          <p:nvPr>
            <p:ph type="sldNum" sz="quarter" idx="21"/>
          </p:nvPr>
        </p:nvSpPr>
        <p:spPr bwMode="gray"/>
        <p:txBody>
          <a:bodyPr/>
          <a:lstStyle/>
          <a:p>
            <a:r>
              <a:rPr lang="nl-NL" noProof="1"/>
              <a:t>pagina </a:t>
            </a:r>
            <a:fld id="{1336C48C-F87C-4E4B-81EF-5027B17D1F61}" type="slidenum">
              <a:rPr lang="nl-NL" noProof="1" smtClean="0"/>
              <a:pPr/>
              <a:t>‹nr.›</a:t>
            </a:fld>
            <a:endParaRPr lang="nl-NL" noProof="1"/>
          </a:p>
        </p:txBody>
      </p:sp>
    </p:spTree>
    <p:extLst>
      <p:ext uri="{BB962C8B-B14F-4D97-AF65-F5344CB8AC3E}">
        <p14:creationId xmlns:p14="http://schemas.microsoft.com/office/powerpoint/2010/main" val="2933680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afbeelding en bijschriften">
    <p:spTree>
      <p:nvGrpSpPr>
        <p:cNvPr id="1" name=""/>
        <p:cNvGrpSpPr/>
        <p:nvPr/>
      </p:nvGrpSpPr>
      <p:grpSpPr>
        <a:xfrm>
          <a:off x="0" y="0"/>
          <a:ext cx="0" cy="0"/>
          <a:chOff x="0" y="0"/>
          <a:chExt cx="0" cy="0"/>
        </a:xfrm>
      </p:grpSpPr>
      <p:sp>
        <p:nvSpPr>
          <p:cNvPr id="8" name="Titel 7"/>
          <p:cNvSpPr>
            <a:spLocks noGrp="1" noSelect="1"/>
          </p:cNvSpPr>
          <p:nvPr>
            <p:ph type="title" hasCustomPrompt="1"/>
          </p:nvPr>
        </p:nvSpPr>
        <p:spPr bwMode="gray"/>
        <p:txBody>
          <a:bodyPr/>
          <a:lstStyle/>
          <a:p>
            <a:r>
              <a:rPr lang="nl-NL" noProof="1"/>
              <a:t>[Titel]</a:t>
            </a:r>
            <a:endParaRPr lang="nl-NL" dirty="0"/>
          </a:p>
        </p:txBody>
      </p:sp>
      <p:sp>
        <p:nvSpPr>
          <p:cNvPr id="27" name="Tijdelijke aanduiding voor inhoud 8"/>
          <p:cNvSpPr>
            <a:spLocks noGrp="1" noSelect="1"/>
          </p:cNvSpPr>
          <p:nvPr>
            <p:ph sz="quarter" idx="18" hasCustomPrompt="1"/>
          </p:nvPr>
        </p:nvSpPr>
        <p:spPr bwMode="gray">
          <a:xfrm>
            <a:off x="7715422" y="5260514"/>
            <a:ext cx="3402954" cy="537166"/>
          </a:xfrm>
        </p:spPr>
        <p:txBody>
          <a:bodyPr/>
          <a:lstStyle>
            <a:lvl1pPr marL="36000" indent="0" algn="l">
              <a:buNone/>
              <a:defRPr sz="1100"/>
            </a:lvl1pPr>
            <a:lvl2pPr marL="36000" indent="0" algn="l">
              <a:buNone/>
              <a:defRPr sz="1100" b="0"/>
            </a:lvl2pPr>
            <a:lvl3pPr marL="36000" indent="0" algn="l">
              <a:buNone/>
              <a:defRPr sz="1100" b="0"/>
            </a:lvl3pPr>
            <a:lvl4pPr marL="36000" indent="0" algn="l">
              <a:buFont typeface="Arial" panose="020B0604020202020204" pitchFamily="34" charset="0"/>
              <a:buNone/>
              <a:defRPr sz="1100" b="0"/>
            </a:lvl4pPr>
            <a:lvl5pPr marL="36000" indent="0" algn="l">
              <a:buFont typeface="Arial" panose="020B0604020202020204" pitchFamily="34" charset="0"/>
              <a:buNone/>
              <a:defRPr sz="1100" b="0"/>
            </a:lvl5pPr>
            <a:lvl6pPr marL="36000" indent="0" algn="l">
              <a:buFont typeface="Arial" panose="020B0604020202020204" pitchFamily="34" charset="0"/>
              <a:buNone/>
              <a:defRPr sz="1100" b="0"/>
            </a:lvl6pPr>
            <a:lvl7pPr marL="36000" indent="0" algn="l">
              <a:buFont typeface="Arial" panose="020B0604020202020204" pitchFamily="34" charset="0"/>
              <a:buNone/>
              <a:defRPr sz="1100" b="0"/>
            </a:lvl7pPr>
            <a:lvl8pPr marL="36000" indent="0" algn="l">
              <a:buFont typeface="Arial" panose="020B0604020202020204" pitchFamily="34" charset="0"/>
              <a:buNone/>
              <a:defRPr sz="1100" b="0"/>
            </a:lvl8pPr>
            <a:lvl9pPr marL="36000" indent="0" algn="l">
              <a:buFont typeface="Arial" panose="020B0604020202020204" pitchFamily="34" charset="0"/>
              <a:buNone/>
              <a:defRPr sz="1100" b="0"/>
            </a:lvl9pPr>
          </a:lstStyle>
          <a:p>
            <a:pPr lvl="0"/>
            <a:r>
              <a:rPr lang="nl-NL" noProof="1"/>
              <a:t>[Tekst]</a:t>
            </a:r>
          </a:p>
        </p:txBody>
      </p:sp>
      <p:sp>
        <p:nvSpPr>
          <p:cNvPr id="3" name="Tijdelijke aanduiding voor afbeelding 2"/>
          <p:cNvSpPr>
            <a:spLocks noGrp="1" noSelect="1"/>
          </p:cNvSpPr>
          <p:nvPr>
            <p:ph type="pic" sz="quarter" idx="22" hasCustomPrompt="1"/>
          </p:nvPr>
        </p:nvSpPr>
        <p:spPr bwMode="gray">
          <a:xfrm>
            <a:off x="1080000" y="1709999"/>
            <a:ext cx="6370637" cy="4248000"/>
          </a:xfrm>
          <a:solidFill>
            <a:schemeClr val="bg1">
              <a:lumMod val="75000"/>
            </a:schemeClr>
          </a:solidFill>
        </p:spPr>
        <p:txBody>
          <a:bodyPr/>
          <a:lstStyle>
            <a:lvl1pPr marL="0" indent="0">
              <a:buFontTx/>
              <a:buNone/>
              <a:defRPr/>
            </a:lvl1pPr>
          </a:lstStyle>
          <a:p>
            <a:r>
              <a:rPr lang="nl-NL" dirty="0"/>
              <a:t>[Klik op het pictogram om een afbeelding in te voegen]</a:t>
            </a:r>
          </a:p>
        </p:txBody>
      </p:sp>
      <p:sp>
        <p:nvSpPr>
          <p:cNvPr id="2" name="Tijdelijke aanduiding voor datum 1"/>
          <p:cNvSpPr>
            <a:spLocks noGrp="1" noSelect="1"/>
          </p:cNvSpPr>
          <p:nvPr>
            <p:ph type="dt" sz="half" idx="23"/>
          </p:nvPr>
        </p:nvSpPr>
        <p:spPr bwMode="gray"/>
        <p:txBody>
          <a:bodyPr/>
          <a:lstStyle/>
          <a:p>
            <a:fld id="{64DA811B-765D-4408-9495-E92A0CD192C6}" type="datetime4">
              <a:rPr lang="nl-NL" noProof="1" smtClean="0"/>
              <a:t>22 september 2022</a:t>
            </a:fld>
            <a:endParaRPr lang="nl-NL" noProof="1"/>
          </a:p>
        </p:txBody>
      </p:sp>
      <p:sp>
        <p:nvSpPr>
          <p:cNvPr id="4" name="Tijdelijke aanduiding voor voettekst 3"/>
          <p:cNvSpPr>
            <a:spLocks noGrp="1" noSelect="1"/>
          </p:cNvSpPr>
          <p:nvPr>
            <p:ph type="ftr" sz="quarter" idx="24"/>
          </p:nvPr>
        </p:nvSpPr>
        <p:spPr bwMode="gray"/>
        <p:txBody>
          <a:bodyPr/>
          <a:lstStyle/>
          <a:p>
            <a:r>
              <a:rPr lang="nl-NL" noProof="1"/>
              <a:t>[Plaats hier de aanduiding van het OM onderdeel]</a:t>
            </a:r>
          </a:p>
        </p:txBody>
      </p:sp>
      <p:sp>
        <p:nvSpPr>
          <p:cNvPr id="5" name="Tijdelijke aanduiding voor dianummer 4"/>
          <p:cNvSpPr>
            <a:spLocks noGrp="1" noSelect="1"/>
          </p:cNvSpPr>
          <p:nvPr>
            <p:ph type="sldNum" sz="quarter" idx="25"/>
          </p:nvPr>
        </p:nvSpPr>
        <p:spPr bwMode="gray"/>
        <p:txBody>
          <a:bodyPr/>
          <a:lstStyle/>
          <a:p>
            <a:r>
              <a:rPr lang="nl-NL" noProof="1"/>
              <a:t>pagina </a:t>
            </a:r>
            <a:fld id="{1336C48C-F87C-4E4B-81EF-5027B17D1F61}" type="slidenum">
              <a:rPr lang="nl-NL" noProof="1" smtClean="0"/>
              <a:pPr/>
              <a:t>‹nr.›</a:t>
            </a:fld>
            <a:endParaRPr lang="nl-NL" noProof="1"/>
          </a:p>
        </p:txBody>
      </p:sp>
    </p:spTree>
    <p:extLst>
      <p:ext uri="{BB962C8B-B14F-4D97-AF65-F5344CB8AC3E}">
        <p14:creationId xmlns:p14="http://schemas.microsoft.com/office/powerpoint/2010/main" val="2411620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p>
            <a:r>
              <a:rPr lang="nl-NL" noProof="1"/>
              <a:t>[Titel]</a:t>
            </a:r>
          </a:p>
        </p:txBody>
      </p:sp>
      <p:sp>
        <p:nvSpPr>
          <p:cNvPr id="3" name="Tijdelijke aanduiding voor datum 2"/>
          <p:cNvSpPr>
            <a:spLocks noGrp="1" noSelect="1"/>
          </p:cNvSpPr>
          <p:nvPr>
            <p:ph type="dt" sz="half" idx="10"/>
          </p:nvPr>
        </p:nvSpPr>
        <p:spPr bwMode="gray"/>
        <p:txBody>
          <a:bodyPr/>
          <a:lstStyle/>
          <a:p>
            <a:fld id="{027BDABA-D4B9-471C-BB5F-EB59741878BA}" type="datetime4">
              <a:rPr lang="nl-NL" noProof="1" smtClean="0"/>
              <a:t>22 september 2022</a:t>
            </a:fld>
            <a:endParaRPr lang="nl-NL" noProof="1"/>
          </a:p>
        </p:txBody>
      </p:sp>
      <p:sp>
        <p:nvSpPr>
          <p:cNvPr id="4" name="Tijdelijke aanduiding voor voettekst 3"/>
          <p:cNvSpPr>
            <a:spLocks noGrp="1" noSelect="1"/>
          </p:cNvSpPr>
          <p:nvPr>
            <p:ph type="ftr" sz="quarter" idx="11"/>
          </p:nvPr>
        </p:nvSpPr>
        <p:spPr bwMode="gray"/>
        <p:txBody>
          <a:bodyPr/>
          <a:lstStyle/>
          <a:p>
            <a:r>
              <a:rPr lang="nl-NL" noProof="1"/>
              <a:t>[Plaats hier de aanduiding van het OM onderdeel]</a:t>
            </a:r>
          </a:p>
        </p:txBody>
      </p:sp>
      <p:sp>
        <p:nvSpPr>
          <p:cNvPr id="5" name="Tijdelijke aanduiding voor dianummer 4"/>
          <p:cNvSpPr>
            <a:spLocks noGrp="1" noSelect="1"/>
          </p:cNvSpPr>
          <p:nvPr>
            <p:ph type="sldNum" sz="quarter" idx="12"/>
          </p:nvPr>
        </p:nvSpPr>
        <p:spPr bwMode="gray"/>
        <p:txBody>
          <a:bodyPr/>
          <a:lstStyle/>
          <a:p>
            <a:r>
              <a:rPr lang="nl-NL" noProof="1"/>
              <a:t>pagina </a:t>
            </a:r>
            <a:fld id="{1336C48C-F87C-4E4B-81EF-5027B17D1F61}" type="slidenum">
              <a:rPr lang="nl-NL" noProof="1" smtClean="0"/>
              <a:pPr/>
              <a:t>‹nr.›</a:t>
            </a:fld>
            <a:endParaRPr lang="nl-NL" noProof="1"/>
          </a:p>
        </p:txBody>
      </p:sp>
    </p:spTree>
    <p:extLst>
      <p:ext uri="{BB962C8B-B14F-4D97-AF65-F5344CB8AC3E}">
        <p14:creationId xmlns:p14="http://schemas.microsoft.com/office/powerpoint/2010/main" val="41313430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2" name="Tijdelijke aanduiding voor datum 1"/>
          <p:cNvSpPr>
            <a:spLocks noGrp="1" noSelect="1"/>
          </p:cNvSpPr>
          <p:nvPr>
            <p:ph type="dt" sz="half" idx="10"/>
          </p:nvPr>
        </p:nvSpPr>
        <p:spPr bwMode="gray"/>
        <p:txBody>
          <a:bodyPr/>
          <a:lstStyle/>
          <a:p>
            <a:fld id="{6A807A3B-5E6A-4278-AC64-ACAE88FA6E19}" type="datetime4">
              <a:rPr lang="nl-NL" noProof="1" smtClean="0"/>
              <a:t>22 september 2022</a:t>
            </a:fld>
            <a:endParaRPr lang="nl-NL" noProof="1"/>
          </a:p>
        </p:txBody>
      </p:sp>
      <p:sp>
        <p:nvSpPr>
          <p:cNvPr id="3" name="Tijdelijke aanduiding voor voettekst 2"/>
          <p:cNvSpPr>
            <a:spLocks noGrp="1" noSelect="1"/>
          </p:cNvSpPr>
          <p:nvPr>
            <p:ph type="ftr" sz="quarter" idx="11"/>
          </p:nvPr>
        </p:nvSpPr>
        <p:spPr bwMode="gray"/>
        <p:txBody>
          <a:bodyPr/>
          <a:lstStyle/>
          <a:p>
            <a:r>
              <a:rPr lang="nl-NL" noProof="1"/>
              <a:t>[Plaats hier de aanduiding van het OM onderdeel]</a:t>
            </a:r>
          </a:p>
        </p:txBody>
      </p:sp>
      <p:sp>
        <p:nvSpPr>
          <p:cNvPr id="4" name="Tijdelijke aanduiding voor dianummer 3"/>
          <p:cNvSpPr>
            <a:spLocks noGrp="1" noSelect="1"/>
          </p:cNvSpPr>
          <p:nvPr>
            <p:ph type="sldNum" sz="quarter" idx="12"/>
          </p:nvPr>
        </p:nvSpPr>
        <p:spPr bwMode="gray"/>
        <p:txBody>
          <a:bodyPr/>
          <a:lstStyle/>
          <a:p>
            <a:r>
              <a:rPr lang="nl-NL" noProof="1"/>
              <a:t>pagina </a:t>
            </a:r>
            <a:fld id="{1336C48C-F87C-4E4B-81EF-5027B17D1F61}" type="slidenum">
              <a:rPr lang="nl-NL" noProof="1" smtClean="0"/>
              <a:pPr/>
              <a:t>‹nr.›</a:t>
            </a:fld>
            <a:endParaRPr lang="nl-NL" noProof="1"/>
          </a:p>
        </p:txBody>
      </p:sp>
    </p:spTree>
    <p:extLst>
      <p:ext uri="{BB962C8B-B14F-4D97-AF65-F5344CB8AC3E}">
        <p14:creationId xmlns:p14="http://schemas.microsoft.com/office/powerpoint/2010/main" val="14828781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dia met fotovak">
    <p:spTree>
      <p:nvGrpSpPr>
        <p:cNvPr id="1" name=""/>
        <p:cNvGrpSpPr/>
        <p:nvPr/>
      </p:nvGrpSpPr>
      <p:grpSpPr>
        <a:xfrm>
          <a:off x="0" y="0"/>
          <a:ext cx="0" cy="0"/>
          <a:chOff x="0" y="0"/>
          <a:chExt cx="0" cy="0"/>
        </a:xfrm>
      </p:grpSpPr>
      <p:sp>
        <p:nvSpPr>
          <p:cNvPr id="8" name="Tijdelijke aanduiding voor afbeelding 7"/>
          <p:cNvSpPr>
            <a:spLocks noGrp="1" noSelect="1"/>
          </p:cNvSpPr>
          <p:nvPr>
            <p:ph type="pic" sz="quarter" idx="13" hasCustomPrompt="1"/>
          </p:nvPr>
        </p:nvSpPr>
        <p:spPr bwMode="gray">
          <a:xfrm>
            <a:off x="0" y="3430588"/>
            <a:ext cx="12188825" cy="3429000"/>
          </a:xfrm>
          <a:blipFill dpi="0" rotWithShape="1">
            <a:blip r:embed="rId2"/>
            <a:srcRect/>
            <a:stretch>
              <a:fillRect l="-1000" t="-8000" r="-2000"/>
            </a:stretch>
          </a:blipFill>
        </p:spPr>
        <p:txBody>
          <a:bodyPr/>
          <a:lstStyle>
            <a:lvl1pPr marL="0" indent="0">
              <a:buNone/>
              <a:defRPr/>
            </a:lvl1pPr>
          </a:lstStyle>
          <a:p>
            <a:r>
              <a:rPr lang="nl-NL" dirty="0"/>
              <a:t>[Klik op het pictogram om een afbeelding in te voegen]</a:t>
            </a:r>
          </a:p>
        </p:txBody>
      </p:sp>
      <p:sp>
        <p:nvSpPr>
          <p:cNvPr id="10" name="Rectangle 3"/>
          <p:cNvSpPr>
            <a:spLocks noSelect="1" noChangeArrowheads="1"/>
          </p:cNvSpPr>
          <p:nvPr userDrawn="1"/>
        </p:nvSpPr>
        <p:spPr bwMode="gray">
          <a:xfrm>
            <a:off x="0" y="0"/>
            <a:ext cx="12189600" cy="1709738"/>
          </a:xfrm>
          <a:prstGeom prst="rect">
            <a:avLst/>
          </a:prstGeom>
          <a:solidFill>
            <a:srgbClr val="91D2F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1" hangingPunct="1">
              <a:defRPr/>
            </a:pPr>
            <a:endParaRPr lang="nl-NL" dirty="0">
              <a:latin typeface="Arial Black" charset="0"/>
            </a:endParaRPr>
          </a:p>
        </p:txBody>
      </p:sp>
      <p:sp>
        <p:nvSpPr>
          <p:cNvPr id="15" name="Rechthoek 14"/>
          <p:cNvSpPr>
            <a:spLocks noSelect="1"/>
          </p:cNvSpPr>
          <p:nvPr userDrawn="1"/>
        </p:nvSpPr>
        <p:spPr bwMode="gray">
          <a:xfrm>
            <a:off x="0" y="1710000"/>
            <a:ext cx="12189600" cy="450000"/>
          </a:xfrm>
          <a:prstGeom prst="rect">
            <a:avLst/>
          </a:prstGeom>
          <a:solidFill>
            <a:srgbClr val="001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0" name="Freeform 5"/>
          <p:cNvSpPr>
            <a:spLocks noSelect="1"/>
          </p:cNvSpPr>
          <p:nvPr userDrawn="1"/>
        </p:nvSpPr>
        <p:spPr bwMode="gray">
          <a:xfrm>
            <a:off x="1089025" y="1876425"/>
            <a:ext cx="2944813" cy="114300"/>
          </a:xfrm>
          <a:custGeom>
            <a:avLst/>
            <a:gdLst>
              <a:gd name="T0" fmla="*/ 6618 w 9279"/>
              <a:gd name="T1" fmla="*/ 356 h 356"/>
              <a:gd name="T2" fmla="*/ 6602 w 9279"/>
              <a:gd name="T3" fmla="*/ 290 h 356"/>
              <a:gd name="T4" fmla="*/ 6540 w 9279"/>
              <a:gd name="T5" fmla="*/ 124 h 356"/>
              <a:gd name="T6" fmla="*/ 6938 w 9279"/>
              <a:gd name="T7" fmla="*/ 78 h 356"/>
              <a:gd name="T8" fmla="*/ 6618 w 9279"/>
              <a:gd name="T9" fmla="*/ 64 h 356"/>
              <a:gd name="T10" fmla="*/ 8373 w 9279"/>
              <a:gd name="T11" fmla="*/ 222 h 356"/>
              <a:gd name="T12" fmla="*/ 8186 w 9279"/>
              <a:gd name="T13" fmla="*/ 222 h 356"/>
              <a:gd name="T14" fmla="*/ 8421 w 9279"/>
              <a:gd name="T15" fmla="*/ 0 h 356"/>
              <a:gd name="T16" fmla="*/ 8373 w 9279"/>
              <a:gd name="T17" fmla="*/ 222 h 356"/>
              <a:gd name="T18" fmla="*/ 8384 w 9279"/>
              <a:gd name="T19" fmla="*/ 61 h 356"/>
              <a:gd name="T20" fmla="*/ 2014 w 9279"/>
              <a:gd name="T21" fmla="*/ 237 h 356"/>
              <a:gd name="T22" fmla="*/ 1731 w 9279"/>
              <a:gd name="T23" fmla="*/ 356 h 356"/>
              <a:gd name="T24" fmla="*/ 2092 w 9279"/>
              <a:gd name="T25" fmla="*/ 0 h 356"/>
              <a:gd name="T26" fmla="*/ 2643 w 9279"/>
              <a:gd name="T27" fmla="*/ 286 h 356"/>
              <a:gd name="T28" fmla="*/ 2556 w 9279"/>
              <a:gd name="T29" fmla="*/ 0 h 356"/>
              <a:gd name="T30" fmla="*/ 2643 w 9279"/>
              <a:gd name="T31" fmla="*/ 241 h 356"/>
              <a:gd name="T32" fmla="*/ 2555 w 9279"/>
              <a:gd name="T33" fmla="*/ 83 h 356"/>
              <a:gd name="T34" fmla="*/ 2559 w 9279"/>
              <a:gd name="T35" fmla="*/ 233 h 356"/>
              <a:gd name="T36" fmla="*/ 2517 w 9279"/>
              <a:gd name="T37" fmla="*/ 292 h 356"/>
              <a:gd name="T38" fmla="*/ 8980 w 9279"/>
              <a:gd name="T39" fmla="*/ 202 h 356"/>
              <a:gd name="T40" fmla="*/ 8980 w 9279"/>
              <a:gd name="T41" fmla="*/ 63 h 356"/>
              <a:gd name="T42" fmla="*/ 8893 w 9279"/>
              <a:gd name="T43" fmla="*/ 356 h 356"/>
              <a:gd name="T44" fmla="*/ 1227 w 9279"/>
              <a:gd name="T45" fmla="*/ 202 h 356"/>
              <a:gd name="T46" fmla="*/ 1227 w 9279"/>
              <a:gd name="T47" fmla="*/ 63 h 356"/>
              <a:gd name="T48" fmla="*/ 1140 w 9279"/>
              <a:gd name="T49" fmla="*/ 356 h 356"/>
              <a:gd name="T50" fmla="*/ 1227 w 9279"/>
              <a:gd name="T51" fmla="*/ 202 h 356"/>
              <a:gd name="T52" fmla="*/ 93 w 9279"/>
              <a:gd name="T53" fmla="*/ 356 h 356"/>
              <a:gd name="T54" fmla="*/ 368 w 9279"/>
              <a:gd name="T55" fmla="*/ 0 h 356"/>
              <a:gd name="T56" fmla="*/ 87 w 9279"/>
              <a:gd name="T57" fmla="*/ 288 h 356"/>
              <a:gd name="T58" fmla="*/ 1015 w 9279"/>
              <a:gd name="T59" fmla="*/ 148 h 356"/>
              <a:gd name="T60" fmla="*/ 611 w 9279"/>
              <a:gd name="T61" fmla="*/ 356 h 356"/>
              <a:gd name="T62" fmla="*/ 934 w 9279"/>
              <a:gd name="T63" fmla="*/ 90 h 356"/>
              <a:gd name="T64" fmla="*/ 895 w 9279"/>
              <a:gd name="T65" fmla="*/ 156 h 356"/>
              <a:gd name="T66" fmla="*/ 8735 w 9279"/>
              <a:gd name="T67" fmla="*/ 356 h 356"/>
              <a:gd name="T68" fmla="*/ 6051 w 9279"/>
              <a:gd name="T69" fmla="*/ 237 h 356"/>
              <a:gd name="T70" fmla="*/ 5768 w 9279"/>
              <a:gd name="T71" fmla="*/ 356 h 356"/>
              <a:gd name="T72" fmla="*/ 6129 w 9279"/>
              <a:gd name="T73" fmla="*/ 0 h 356"/>
              <a:gd name="T74" fmla="*/ 5444 w 9279"/>
              <a:gd name="T75" fmla="*/ 178 h 356"/>
              <a:gd name="T76" fmla="*/ 5531 w 9279"/>
              <a:gd name="T77" fmla="*/ 178 h 356"/>
              <a:gd name="T78" fmla="*/ 6288 w 9279"/>
              <a:gd name="T79" fmla="*/ 356 h 356"/>
              <a:gd name="T80" fmla="*/ 6288 w 9279"/>
              <a:gd name="T81" fmla="*/ 356 h 356"/>
              <a:gd name="T82" fmla="*/ 4798 w 9279"/>
              <a:gd name="T83" fmla="*/ 356 h 356"/>
              <a:gd name="T84" fmla="*/ 5046 w 9279"/>
              <a:gd name="T85" fmla="*/ 313 h 356"/>
              <a:gd name="T86" fmla="*/ 5286 w 9279"/>
              <a:gd name="T87" fmla="*/ 0 h 356"/>
              <a:gd name="T88" fmla="*/ 3804 w 9279"/>
              <a:gd name="T89" fmla="*/ 356 h 356"/>
              <a:gd name="T90" fmla="*/ 3381 w 9279"/>
              <a:gd name="T91" fmla="*/ 356 h 356"/>
              <a:gd name="T92" fmla="*/ 3626 w 9279"/>
              <a:gd name="T93" fmla="*/ 213 h 356"/>
              <a:gd name="T94" fmla="*/ 7676 w 9279"/>
              <a:gd name="T95" fmla="*/ 202 h 356"/>
              <a:gd name="T96" fmla="*/ 7676 w 9279"/>
              <a:gd name="T97" fmla="*/ 63 h 356"/>
              <a:gd name="T98" fmla="*/ 7589 w 9279"/>
              <a:gd name="T99" fmla="*/ 356 h 356"/>
              <a:gd name="T100" fmla="*/ 7676 w 9279"/>
              <a:gd name="T101" fmla="*/ 202 h 356"/>
              <a:gd name="T102" fmla="*/ 4060 w 9279"/>
              <a:gd name="T103" fmla="*/ 221 h 356"/>
              <a:gd name="T104" fmla="*/ 3892 w 9279"/>
              <a:gd name="T105" fmla="*/ 0 h 356"/>
              <a:gd name="T106" fmla="*/ 4213 w 9279"/>
              <a:gd name="T107" fmla="*/ 221 h 356"/>
              <a:gd name="T108" fmla="*/ 4216 w 9279"/>
              <a:gd name="T109" fmla="*/ 90 h 356"/>
              <a:gd name="T110" fmla="*/ 4176 w 9279"/>
              <a:gd name="T111" fmla="*/ 160 h 356"/>
              <a:gd name="T112" fmla="*/ 3088 w 9279"/>
              <a:gd name="T113" fmla="*/ 278 h 356"/>
              <a:gd name="T114" fmla="*/ 2932 w 9279"/>
              <a:gd name="T115" fmla="*/ 0 h 356"/>
              <a:gd name="T116" fmla="*/ 2889 w 9279"/>
              <a:gd name="T117" fmla="*/ 213 h 356"/>
              <a:gd name="T118" fmla="*/ 7217 w 9279"/>
              <a:gd name="T119" fmla="*/ 356 h 356"/>
              <a:gd name="T120" fmla="*/ 7477 w 9279"/>
              <a:gd name="T121"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79" h="356">
                <a:moveTo>
                  <a:pt x="6942" y="223"/>
                </a:moveTo>
                <a:cubicBezTo>
                  <a:pt x="6942" y="272"/>
                  <a:pt x="6942" y="272"/>
                  <a:pt x="6942" y="272"/>
                </a:cubicBezTo>
                <a:cubicBezTo>
                  <a:pt x="6942" y="339"/>
                  <a:pt x="6920" y="356"/>
                  <a:pt x="6849" y="356"/>
                </a:cubicBezTo>
                <a:cubicBezTo>
                  <a:pt x="6618" y="356"/>
                  <a:pt x="6618" y="356"/>
                  <a:pt x="6618" y="356"/>
                </a:cubicBezTo>
                <a:cubicBezTo>
                  <a:pt x="6547" y="356"/>
                  <a:pt x="6524" y="339"/>
                  <a:pt x="6524" y="272"/>
                </a:cubicBezTo>
                <a:cubicBezTo>
                  <a:pt x="6524" y="262"/>
                  <a:pt x="6524" y="262"/>
                  <a:pt x="6524" y="262"/>
                </a:cubicBezTo>
                <a:cubicBezTo>
                  <a:pt x="6602" y="248"/>
                  <a:pt x="6602" y="248"/>
                  <a:pt x="6602" y="248"/>
                </a:cubicBezTo>
                <a:cubicBezTo>
                  <a:pt x="6602" y="290"/>
                  <a:pt x="6602" y="290"/>
                  <a:pt x="6602" y="290"/>
                </a:cubicBezTo>
                <a:cubicBezTo>
                  <a:pt x="6864" y="290"/>
                  <a:pt x="6864" y="290"/>
                  <a:pt x="6864" y="290"/>
                </a:cubicBezTo>
                <a:cubicBezTo>
                  <a:pt x="6864" y="208"/>
                  <a:pt x="6864" y="208"/>
                  <a:pt x="6864" y="208"/>
                </a:cubicBezTo>
                <a:cubicBezTo>
                  <a:pt x="6633" y="208"/>
                  <a:pt x="6633" y="208"/>
                  <a:pt x="6633" y="208"/>
                </a:cubicBezTo>
                <a:cubicBezTo>
                  <a:pt x="6563" y="208"/>
                  <a:pt x="6540" y="191"/>
                  <a:pt x="6540" y="124"/>
                </a:cubicBezTo>
                <a:cubicBezTo>
                  <a:pt x="6540" y="84"/>
                  <a:pt x="6540" y="84"/>
                  <a:pt x="6540" y="84"/>
                </a:cubicBezTo>
                <a:cubicBezTo>
                  <a:pt x="6540" y="17"/>
                  <a:pt x="6563" y="0"/>
                  <a:pt x="6633" y="0"/>
                </a:cubicBezTo>
                <a:cubicBezTo>
                  <a:pt x="6844" y="0"/>
                  <a:pt x="6844" y="0"/>
                  <a:pt x="6844" y="0"/>
                </a:cubicBezTo>
                <a:cubicBezTo>
                  <a:pt x="6910" y="0"/>
                  <a:pt x="6938" y="15"/>
                  <a:pt x="6938" y="78"/>
                </a:cubicBezTo>
                <a:cubicBezTo>
                  <a:pt x="6938" y="86"/>
                  <a:pt x="6938" y="86"/>
                  <a:pt x="6938" y="86"/>
                </a:cubicBezTo>
                <a:cubicBezTo>
                  <a:pt x="6863" y="102"/>
                  <a:pt x="6863" y="102"/>
                  <a:pt x="6863" y="102"/>
                </a:cubicBezTo>
                <a:cubicBezTo>
                  <a:pt x="6863" y="64"/>
                  <a:pt x="6863" y="64"/>
                  <a:pt x="6863" y="64"/>
                </a:cubicBezTo>
                <a:cubicBezTo>
                  <a:pt x="6618" y="64"/>
                  <a:pt x="6618" y="64"/>
                  <a:pt x="6618" y="64"/>
                </a:cubicBezTo>
                <a:cubicBezTo>
                  <a:pt x="6618" y="139"/>
                  <a:pt x="6618" y="139"/>
                  <a:pt x="6618" y="139"/>
                </a:cubicBezTo>
                <a:cubicBezTo>
                  <a:pt x="6849" y="139"/>
                  <a:pt x="6849" y="139"/>
                  <a:pt x="6849" y="139"/>
                </a:cubicBezTo>
                <a:cubicBezTo>
                  <a:pt x="6920" y="139"/>
                  <a:pt x="6942" y="156"/>
                  <a:pt x="6942" y="223"/>
                </a:cubicBezTo>
                <a:close/>
                <a:moveTo>
                  <a:pt x="8373" y="222"/>
                </a:moveTo>
                <a:cubicBezTo>
                  <a:pt x="8542" y="356"/>
                  <a:pt x="8542" y="356"/>
                  <a:pt x="8542" y="356"/>
                </a:cubicBezTo>
                <a:cubicBezTo>
                  <a:pt x="8417" y="356"/>
                  <a:pt x="8417" y="356"/>
                  <a:pt x="8417" y="356"/>
                </a:cubicBezTo>
                <a:cubicBezTo>
                  <a:pt x="8268" y="222"/>
                  <a:pt x="8268" y="222"/>
                  <a:pt x="8268" y="222"/>
                </a:cubicBezTo>
                <a:cubicBezTo>
                  <a:pt x="8186" y="222"/>
                  <a:pt x="8186" y="222"/>
                  <a:pt x="8186" y="222"/>
                </a:cubicBezTo>
                <a:cubicBezTo>
                  <a:pt x="8186" y="356"/>
                  <a:pt x="8186" y="356"/>
                  <a:pt x="8186" y="356"/>
                </a:cubicBezTo>
                <a:cubicBezTo>
                  <a:pt x="8101" y="356"/>
                  <a:pt x="8101" y="356"/>
                  <a:pt x="8101" y="356"/>
                </a:cubicBezTo>
                <a:cubicBezTo>
                  <a:pt x="8101" y="0"/>
                  <a:pt x="8101" y="0"/>
                  <a:pt x="8101" y="0"/>
                </a:cubicBezTo>
                <a:cubicBezTo>
                  <a:pt x="8421" y="0"/>
                  <a:pt x="8421" y="0"/>
                  <a:pt x="8421" y="0"/>
                </a:cubicBezTo>
                <a:cubicBezTo>
                  <a:pt x="8479" y="0"/>
                  <a:pt x="8505" y="19"/>
                  <a:pt x="8505" y="69"/>
                </a:cubicBezTo>
                <a:cubicBezTo>
                  <a:pt x="8505" y="153"/>
                  <a:pt x="8505" y="153"/>
                  <a:pt x="8505" y="153"/>
                </a:cubicBezTo>
                <a:cubicBezTo>
                  <a:pt x="8505" y="202"/>
                  <a:pt x="8479" y="222"/>
                  <a:pt x="8421" y="222"/>
                </a:cubicBezTo>
                <a:lnTo>
                  <a:pt x="8373" y="222"/>
                </a:lnTo>
                <a:close/>
                <a:moveTo>
                  <a:pt x="8384" y="160"/>
                </a:moveTo>
                <a:cubicBezTo>
                  <a:pt x="8410" y="160"/>
                  <a:pt x="8424" y="155"/>
                  <a:pt x="8424" y="131"/>
                </a:cubicBezTo>
                <a:cubicBezTo>
                  <a:pt x="8424" y="90"/>
                  <a:pt x="8424" y="90"/>
                  <a:pt x="8424" y="90"/>
                </a:cubicBezTo>
                <a:cubicBezTo>
                  <a:pt x="8424" y="67"/>
                  <a:pt x="8410" y="61"/>
                  <a:pt x="8384" y="61"/>
                </a:cubicBezTo>
                <a:cubicBezTo>
                  <a:pt x="8186" y="61"/>
                  <a:pt x="8186" y="61"/>
                  <a:pt x="8186" y="61"/>
                </a:cubicBezTo>
                <a:cubicBezTo>
                  <a:pt x="8186" y="160"/>
                  <a:pt x="8186" y="160"/>
                  <a:pt x="8186" y="160"/>
                </a:cubicBezTo>
                <a:lnTo>
                  <a:pt x="8384" y="160"/>
                </a:lnTo>
                <a:close/>
                <a:moveTo>
                  <a:pt x="2014" y="237"/>
                </a:moveTo>
                <a:cubicBezTo>
                  <a:pt x="1711" y="0"/>
                  <a:pt x="1711" y="0"/>
                  <a:pt x="1711" y="0"/>
                </a:cubicBezTo>
                <a:cubicBezTo>
                  <a:pt x="1652" y="0"/>
                  <a:pt x="1652" y="0"/>
                  <a:pt x="1652" y="0"/>
                </a:cubicBezTo>
                <a:cubicBezTo>
                  <a:pt x="1652" y="356"/>
                  <a:pt x="1652" y="356"/>
                  <a:pt x="1652" y="356"/>
                </a:cubicBezTo>
                <a:cubicBezTo>
                  <a:pt x="1731" y="356"/>
                  <a:pt x="1731" y="356"/>
                  <a:pt x="1731" y="356"/>
                </a:cubicBezTo>
                <a:cubicBezTo>
                  <a:pt x="1731" y="116"/>
                  <a:pt x="1731" y="116"/>
                  <a:pt x="1731" y="116"/>
                </a:cubicBezTo>
                <a:cubicBezTo>
                  <a:pt x="2032" y="356"/>
                  <a:pt x="2032" y="356"/>
                  <a:pt x="2032" y="356"/>
                </a:cubicBezTo>
                <a:cubicBezTo>
                  <a:pt x="2092" y="356"/>
                  <a:pt x="2092" y="356"/>
                  <a:pt x="2092" y="356"/>
                </a:cubicBezTo>
                <a:cubicBezTo>
                  <a:pt x="2092" y="0"/>
                  <a:pt x="2092" y="0"/>
                  <a:pt x="2092" y="0"/>
                </a:cubicBezTo>
                <a:cubicBezTo>
                  <a:pt x="2014" y="0"/>
                  <a:pt x="2014" y="0"/>
                  <a:pt x="2014" y="0"/>
                </a:cubicBezTo>
                <a:lnTo>
                  <a:pt x="2014" y="237"/>
                </a:lnTo>
                <a:close/>
                <a:moveTo>
                  <a:pt x="2643" y="241"/>
                </a:moveTo>
                <a:cubicBezTo>
                  <a:pt x="2643" y="286"/>
                  <a:pt x="2643" y="286"/>
                  <a:pt x="2643" y="286"/>
                </a:cubicBezTo>
                <a:cubicBezTo>
                  <a:pt x="2643" y="334"/>
                  <a:pt x="2606" y="356"/>
                  <a:pt x="2533" y="356"/>
                </a:cubicBezTo>
                <a:cubicBezTo>
                  <a:pt x="2236" y="356"/>
                  <a:pt x="2236" y="356"/>
                  <a:pt x="2236" y="356"/>
                </a:cubicBezTo>
                <a:cubicBezTo>
                  <a:pt x="2236" y="0"/>
                  <a:pt x="2236" y="0"/>
                  <a:pt x="2236" y="0"/>
                </a:cubicBezTo>
                <a:cubicBezTo>
                  <a:pt x="2556" y="0"/>
                  <a:pt x="2556" y="0"/>
                  <a:pt x="2556" y="0"/>
                </a:cubicBezTo>
                <a:cubicBezTo>
                  <a:pt x="2613" y="0"/>
                  <a:pt x="2640" y="19"/>
                  <a:pt x="2640" y="69"/>
                </a:cubicBezTo>
                <a:cubicBezTo>
                  <a:pt x="2640" y="112"/>
                  <a:pt x="2640" y="112"/>
                  <a:pt x="2640" y="112"/>
                </a:cubicBezTo>
                <a:cubicBezTo>
                  <a:pt x="2640" y="145"/>
                  <a:pt x="2619" y="166"/>
                  <a:pt x="2580" y="173"/>
                </a:cubicBezTo>
                <a:cubicBezTo>
                  <a:pt x="2620" y="179"/>
                  <a:pt x="2643" y="205"/>
                  <a:pt x="2643" y="241"/>
                </a:cubicBezTo>
                <a:close/>
                <a:moveTo>
                  <a:pt x="2322" y="142"/>
                </a:moveTo>
                <a:cubicBezTo>
                  <a:pt x="2517" y="142"/>
                  <a:pt x="2517" y="142"/>
                  <a:pt x="2517" y="142"/>
                </a:cubicBezTo>
                <a:cubicBezTo>
                  <a:pt x="2543" y="142"/>
                  <a:pt x="2555" y="138"/>
                  <a:pt x="2555" y="117"/>
                </a:cubicBezTo>
                <a:cubicBezTo>
                  <a:pt x="2555" y="83"/>
                  <a:pt x="2555" y="83"/>
                  <a:pt x="2555" y="83"/>
                </a:cubicBezTo>
                <a:cubicBezTo>
                  <a:pt x="2555" y="62"/>
                  <a:pt x="2544" y="58"/>
                  <a:pt x="2517" y="58"/>
                </a:cubicBezTo>
                <a:cubicBezTo>
                  <a:pt x="2322" y="58"/>
                  <a:pt x="2322" y="58"/>
                  <a:pt x="2322" y="58"/>
                </a:cubicBezTo>
                <a:lnTo>
                  <a:pt x="2322" y="142"/>
                </a:lnTo>
                <a:close/>
                <a:moveTo>
                  <a:pt x="2559" y="233"/>
                </a:moveTo>
                <a:cubicBezTo>
                  <a:pt x="2559" y="207"/>
                  <a:pt x="2546" y="201"/>
                  <a:pt x="2517" y="201"/>
                </a:cubicBezTo>
                <a:cubicBezTo>
                  <a:pt x="2322" y="201"/>
                  <a:pt x="2322" y="201"/>
                  <a:pt x="2322" y="201"/>
                </a:cubicBezTo>
                <a:cubicBezTo>
                  <a:pt x="2322" y="292"/>
                  <a:pt x="2322" y="292"/>
                  <a:pt x="2322" y="292"/>
                </a:cubicBezTo>
                <a:cubicBezTo>
                  <a:pt x="2517" y="292"/>
                  <a:pt x="2517" y="292"/>
                  <a:pt x="2517" y="292"/>
                </a:cubicBezTo>
                <a:cubicBezTo>
                  <a:pt x="2546" y="292"/>
                  <a:pt x="2559" y="286"/>
                  <a:pt x="2559" y="260"/>
                </a:cubicBezTo>
                <a:lnTo>
                  <a:pt x="2559" y="233"/>
                </a:lnTo>
                <a:close/>
                <a:moveTo>
                  <a:pt x="8980" y="290"/>
                </a:moveTo>
                <a:cubicBezTo>
                  <a:pt x="8980" y="202"/>
                  <a:pt x="8980" y="202"/>
                  <a:pt x="8980" y="202"/>
                </a:cubicBezTo>
                <a:cubicBezTo>
                  <a:pt x="9152" y="202"/>
                  <a:pt x="9152" y="202"/>
                  <a:pt x="9152" y="202"/>
                </a:cubicBezTo>
                <a:cubicBezTo>
                  <a:pt x="9152" y="141"/>
                  <a:pt x="9152" y="141"/>
                  <a:pt x="9152" y="141"/>
                </a:cubicBezTo>
                <a:cubicBezTo>
                  <a:pt x="8980" y="141"/>
                  <a:pt x="8980" y="141"/>
                  <a:pt x="8980" y="141"/>
                </a:cubicBezTo>
                <a:cubicBezTo>
                  <a:pt x="8980" y="63"/>
                  <a:pt x="8980" y="63"/>
                  <a:pt x="8980" y="63"/>
                </a:cubicBezTo>
                <a:cubicBezTo>
                  <a:pt x="9275" y="63"/>
                  <a:pt x="9275" y="63"/>
                  <a:pt x="9275" y="63"/>
                </a:cubicBezTo>
                <a:cubicBezTo>
                  <a:pt x="9275" y="0"/>
                  <a:pt x="9275" y="0"/>
                  <a:pt x="9275" y="0"/>
                </a:cubicBezTo>
                <a:cubicBezTo>
                  <a:pt x="8893" y="0"/>
                  <a:pt x="8893" y="0"/>
                  <a:pt x="8893" y="0"/>
                </a:cubicBezTo>
                <a:cubicBezTo>
                  <a:pt x="8893" y="356"/>
                  <a:pt x="8893" y="356"/>
                  <a:pt x="8893" y="356"/>
                </a:cubicBezTo>
                <a:cubicBezTo>
                  <a:pt x="9279" y="356"/>
                  <a:pt x="9279" y="356"/>
                  <a:pt x="9279" y="356"/>
                </a:cubicBezTo>
                <a:cubicBezTo>
                  <a:pt x="9279" y="290"/>
                  <a:pt x="9279" y="290"/>
                  <a:pt x="9279" y="290"/>
                </a:cubicBezTo>
                <a:lnTo>
                  <a:pt x="8980" y="290"/>
                </a:lnTo>
                <a:close/>
                <a:moveTo>
                  <a:pt x="1227" y="202"/>
                </a:moveTo>
                <a:cubicBezTo>
                  <a:pt x="1399" y="202"/>
                  <a:pt x="1399" y="202"/>
                  <a:pt x="1399" y="202"/>
                </a:cubicBezTo>
                <a:cubicBezTo>
                  <a:pt x="1399" y="141"/>
                  <a:pt x="1399" y="141"/>
                  <a:pt x="1399" y="141"/>
                </a:cubicBezTo>
                <a:cubicBezTo>
                  <a:pt x="1227" y="141"/>
                  <a:pt x="1227" y="141"/>
                  <a:pt x="1227" y="141"/>
                </a:cubicBezTo>
                <a:cubicBezTo>
                  <a:pt x="1227" y="63"/>
                  <a:pt x="1227" y="63"/>
                  <a:pt x="1227" y="63"/>
                </a:cubicBezTo>
                <a:cubicBezTo>
                  <a:pt x="1522" y="63"/>
                  <a:pt x="1522" y="63"/>
                  <a:pt x="1522" y="63"/>
                </a:cubicBezTo>
                <a:cubicBezTo>
                  <a:pt x="1522" y="0"/>
                  <a:pt x="1522" y="0"/>
                  <a:pt x="1522" y="0"/>
                </a:cubicBezTo>
                <a:cubicBezTo>
                  <a:pt x="1140" y="0"/>
                  <a:pt x="1140" y="0"/>
                  <a:pt x="1140" y="0"/>
                </a:cubicBezTo>
                <a:cubicBezTo>
                  <a:pt x="1140" y="356"/>
                  <a:pt x="1140" y="356"/>
                  <a:pt x="1140" y="356"/>
                </a:cubicBezTo>
                <a:cubicBezTo>
                  <a:pt x="1526" y="356"/>
                  <a:pt x="1526" y="356"/>
                  <a:pt x="1526" y="356"/>
                </a:cubicBezTo>
                <a:cubicBezTo>
                  <a:pt x="1526" y="290"/>
                  <a:pt x="1526" y="290"/>
                  <a:pt x="1526" y="290"/>
                </a:cubicBezTo>
                <a:cubicBezTo>
                  <a:pt x="1227" y="290"/>
                  <a:pt x="1227" y="290"/>
                  <a:pt x="1227" y="290"/>
                </a:cubicBezTo>
                <a:lnTo>
                  <a:pt x="1227" y="202"/>
                </a:lnTo>
                <a:close/>
                <a:moveTo>
                  <a:pt x="461" y="84"/>
                </a:moveTo>
                <a:cubicBezTo>
                  <a:pt x="461" y="272"/>
                  <a:pt x="461" y="272"/>
                  <a:pt x="461" y="272"/>
                </a:cubicBezTo>
                <a:cubicBezTo>
                  <a:pt x="461" y="339"/>
                  <a:pt x="438" y="356"/>
                  <a:pt x="368" y="356"/>
                </a:cubicBezTo>
                <a:cubicBezTo>
                  <a:pt x="93" y="356"/>
                  <a:pt x="93" y="356"/>
                  <a:pt x="93" y="356"/>
                </a:cubicBezTo>
                <a:cubicBezTo>
                  <a:pt x="22" y="356"/>
                  <a:pt x="0" y="339"/>
                  <a:pt x="0" y="272"/>
                </a:cubicBezTo>
                <a:cubicBezTo>
                  <a:pt x="0" y="84"/>
                  <a:pt x="0" y="84"/>
                  <a:pt x="0" y="84"/>
                </a:cubicBezTo>
                <a:cubicBezTo>
                  <a:pt x="0" y="16"/>
                  <a:pt x="23" y="0"/>
                  <a:pt x="93" y="0"/>
                </a:cubicBezTo>
                <a:cubicBezTo>
                  <a:pt x="368" y="0"/>
                  <a:pt x="368" y="0"/>
                  <a:pt x="368" y="0"/>
                </a:cubicBezTo>
                <a:cubicBezTo>
                  <a:pt x="438" y="0"/>
                  <a:pt x="461" y="16"/>
                  <a:pt x="461" y="84"/>
                </a:cubicBezTo>
                <a:close/>
                <a:moveTo>
                  <a:pt x="374" y="66"/>
                </a:moveTo>
                <a:cubicBezTo>
                  <a:pt x="87" y="66"/>
                  <a:pt x="87" y="66"/>
                  <a:pt x="87" y="66"/>
                </a:cubicBezTo>
                <a:cubicBezTo>
                  <a:pt x="87" y="288"/>
                  <a:pt x="87" y="288"/>
                  <a:pt x="87" y="288"/>
                </a:cubicBezTo>
                <a:cubicBezTo>
                  <a:pt x="374" y="288"/>
                  <a:pt x="374" y="288"/>
                  <a:pt x="374" y="288"/>
                </a:cubicBezTo>
                <a:lnTo>
                  <a:pt x="374" y="66"/>
                </a:lnTo>
                <a:close/>
                <a:moveTo>
                  <a:pt x="1015" y="69"/>
                </a:moveTo>
                <a:cubicBezTo>
                  <a:pt x="1015" y="148"/>
                  <a:pt x="1015" y="148"/>
                  <a:pt x="1015" y="148"/>
                </a:cubicBezTo>
                <a:cubicBezTo>
                  <a:pt x="1015" y="198"/>
                  <a:pt x="989" y="217"/>
                  <a:pt x="932" y="217"/>
                </a:cubicBezTo>
                <a:cubicBezTo>
                  <a:pt x="697" y="217"/>
                  <a:pt x="697" y="217"/>
                  <a:pt x="697" y="217"/>
                </a:cubicBezTo>
                <a:cubicBezTo>
                  <a:pt x="697" y="356"/>
                  <a:pt x="697" y="356"/>
                  <a:pt x="697" y="356"/>
                </a:cubicBezTo>
                <a:cubicBezTo>
                  <a:pt x="611" y="356"/>
                  <a:pt x="611" y="356"/>
                  <a:pt x="611" y="356"/>
                </a:cubicBezTo>
                <a:cubicBezTo>
                  <a:pt x="611" y="0"/>
                  <a:pt x="611" y="0"/>
                  <a:pt x="611" y="0"/>
                </a:cubicBezTo>
                <a:cubicBezTo>
                  <a:pt x="932" y="0"/>
                  <a:pt x="932" y="0"/>
                  <a:pt x="932" y="0"/>
                </a:cubicBezTo>
                <a:cubicBezTo>
                  <a:pt x="989" y="0"/>
                  <a:pt x="1015" y="19"/>
                  <a:pt x="1015" y="69"/>
                </a:cubicBezTo>
                <a:close/>
                <a:moveTo>
                  <a:pt x="934" y="90"/>
                </a:moveTo>
                <a:cubicBezTo>
                  <a:pt x="934" y="67"/>
                  <a:pt x="921" y="61"/>
                  <a:pt x="895" y="61"/>
                </a:cubicBezTo>
                <a:cubicBezTo>
                  <a:pt x="697" y="61"/>
                  <a:pt x="697" y="61"/>
                  <a:pt x="697" y="61"/>
                </a:cubicBezTo>
                <a:cubicBezTo>
                  <a:pt x="697" y="156"/>
                  <a:pt x="697" y="156"/>
                  <a:pt x="697" y="156"/>
                </a:cubicBezTo>
                <a:cubicBezTo>
                  <a:pt x="895" y="156"/>
                  <a:pt x="895" y="156"/>
                  <a:pt x="895" y="156"/>
                </a:cubicBezTo>
                <a:cubicBezTo>
                  <a:pt x="921" y="156"/>
                  <a:pt x="934" y="151"/>
                  <a:pt x="934" y="127"/>
                </a:cubicBezTo>
                <a:lnTo>
                  <a:pt x="934" y="90"/>
                </a:lnTo>
                <a:close/>
                <a:moveTo>
                  <a:pt x="8648" y="356"/>
                </a:moveTo>
                <a:cubicBezTo>
                  <a:pt x="8735" y="356"/>
                  <a:pt x="8735" y="356"/>
                  <a:pt x="8735" y="356"/>
                </a:cubicBezTo>
                <a:cubicBezTo>
                  <a:pt x="8735" y="0"/>
                  <a:pt x="8735" y="0"/>
                  <a:pt x="8735" y="0"/>
                </a:cubicBezTo>
                <a:cubicBezTo>
                  <a:pt x="8648" y="0"/>
                  <a:pt x="8648" y="0"/>
                  <a:pt x="8648" y="0"/>
                </a:cubicBezTo>
                <a:lnTo>
                  <a:pt x="8648" y="356"/>
                </a:lnTo>
                <a:close/>
                <a:moveTo>
                  <a:pt x="6051" y="237"/>
                </a:moveTo>
                <a:cubicBezTo>
                  <a:pt x="5749" y="0"/>
                  <a:pt x="5749" y="0"/>
                  <a:pt x="5749" y="0"/>
                </a:cubicBezTo>
                <a:cubicBezTo>
                  <a:pt x="5689" y="0"/>
                  <a:pt x="5689" y="0"/>
                  <a:pt x="5689" y="0"/>
                </a:cubicBezTo>
                <a:cubicBezTo>
                  <a:pt x="5689" y="356"/>
                  <a:pt x="5689" y="356"/>
                  <a:pt x="5689" y="356"/>
                </a:cubicBezTo>
                <a:cubicBezTo>
                  <a:pt x="5768" y="356"/>
                  <a:pt x="5768" y="356"/>
                  <a:pt x="5768" y="356"/>
                </a:cubicBezTo>
                <a:cubicBezTo>
                  <a:pt x="5768" y="116"/>
                  <a:pt x="5768" y="116"/>
                  <a:pt x="5768" y="116"/>
                </a:cubicBezTo>
                <a:cubicBezTo>
                  <a:pt x="6070" y="356"/>
                  <a:pt x="6070" y="356"/>
                  <a:pt x="6070" y="356"/>
                </a:cubicBezTo>
                <a:cubicBezTo>
                  <a:pt x="6129" y="356"/>
                  <a:pt x="6129" y="356"/>
                  <a:pt x="6129" y="356"/>
                </a:cubicBezTo>
                <a:cubicBezTo>
                  <a:pt x="6129" y="0"/>
                  <a:pt x="6129" y="0"/>
                  <a:pt x="6129" y="0"/>
                </a:cubicBezTo>
                <a:cubicBezTo>
                  <a:pt x="6051" y="0"/>
                  <a:pt x="6051" y="0"/>
                  <a:pt x="6051" y="0"/>
                </a:cubicBezTo>
                <a:lnTo>
                  <a:pt x="6051" y="237"/>
                </a:lnTo>
                <a:close/>
                <a:moveTo>
                  <a:pt x="5444" y="0"/>
                </a:moveTo>
                <a:cubicBezTo>
                  <a:pt x="5444" y="178"/>
                  <a:pt x="5444" y="178"/>
                  <a:pt x="5444" y="178"/>
                </a:cubicBezTo>
                <a:cubicBezTo>
                  <a:pt x="5444" y="356"/>
                  <a:pt x="5444" y="356"/>
                  <a:pt x="5444" y="356"/>
                </a:cubicBezTo>
                <a:cubicBezTo>
                  <a:pt x="5487" y="356"/>
                  <a:pt x="5487" y="356"/>
                  <a:pt x="5487" y="356"/>
                </a:cubicBezTo>
                <a:cubicBezTo>
                  <a:pt x="5531" y="356"/>
                  <a:pt x="5531" y="356"/>
                  <a:pt x="5531" y="356"/>
                </a:cubicBezTo>
                <a:cubicBezTo>
                  <a:pt x="5531" y="178"/>
                  <a:pt x="5531" y="178"/>
                  <a:pt x="5531" y="178"/>
                </a:cubicBezTo>
                <a:cubicBezTo>
                  <a:pt x="5531" y="0"/>
                  <a:pt x="5531" y="0"/>
                  <a:pt x="5531" y="0"/>
                </a:cubicBezTo>
                <a:cubicBezTo>
                  <a:pt x="5531" y="0"/>
                  <a:pt x="5531" y="0"/>
                  <a:pt x="5531" y="0"/>
                </a:cubicBezTo>
                <a:cubicBezTo>
                  <a:pt x="5444" y="0"/>
                  <a:pt x="5444" y="0"/>
                  <a:pt x="5444" y="0"/>
                </a:cubicBezTo>
                <a:close/>
                <a:moveTo>
                  <a:pt x="6288" y="356"/>
                </a:moveTo>
                <a:cubicBezTo>
                  <a:pt x="6375" y="356"/>
                  <a:pt x="6375" y="356"/>
                  <a:pt x="6375" y="356"/>
                </a:cubicBezTo>
                <a:cubicBezTo>
                  <a:pt x="6375" y="0"/>
                  <a:pt x="6375" y="0"/>
                  <a:pt x="6375" y="0"/>
                </a:cubicBezTo>
                <a:cubicBezTo>
                  <a:pt x="6288" y="0"/>
                  <a:pt x="6288" y="0"/>
                  <a:pt x="6288" y="0"/>
                </a:cubicBezTo>
                <a:lnTo>
                  <a:pt x="6288" y="356"/>
                </a:lnTo>
                <a:close/>
                <a:moveTo>
                  <a:pt x="5042" y="211"/>
                </a:moveTo>
                <a:cubicBezTo>
                  <a:pt x="4868" y="0"/>
                  <a:pt x="4868" y="0"/>
                  <a:pt x="4868" y="0"/>
                </a:cubicBezTo>
                <a:cubicBezTo>
                  <a:pt x="4798" y="0"/>
                  <a:pt x="4798" y="0"/>
                  <a:pt x="4798" y="0"/>
                </a:cubicBezTo>
                <a:cubicBezTo>
                  <a:pt x="4798" y="356"/>
                  <a:pt x="4798" y="356"/>
                  <a:pt x="4798" y="356"/>
                </a:cubicBezTo>
                <a:cubicBezTo>
                  <a:pt x="4868" y="356"/>
                  <a:pt x="4868" y="356"/>
                  <a:pt x="4868" y="356"/>
                </a:cubicBezTo>
                <a:cubicBezTo>
                  <a:pt x="4868" y="117"/>
                  <a:pt x="4868" y="117"/>
                  <a:pt x="4868" y="117"/>
                </a:cubicBezTo>
                <a:cubicBezTo>
                  <a:pt x="5029" y="313"/>
                  <a:pt x="5029" y="313"/>
                  <a:pt x="5029" y="313"/>
                </a:cubicBezTo>
                <a:cubicBezTo>
                  <a:pt x="5046" y="313"/>
                  <a:pt x="5046" y="313"/>
                  <a:pt x="5046" y="313"/>
                </a:cubicBezTo>
                <a:cubicBezTo>
                  <a:pt x="5205" y="111"/>
                  <a:pt x="5205" y="111"/>
                  <a:pt x="5205" y="111"/>
                </a:cubicBezTo>
                <a:cubicBezTo>
                  <a:pt x="5205" y="356"/>
                  <a:pt x="5205" y="356"/>
                  <a:pt x="5205" y="356"/>
                </a:cubicBezTo>
                <a:cubicBezTo>
                  <a:pt x="5286" y="356"/>
                  <a:pt x="5286" y="356"/>
                  <a:pt x="5286" y="356"/>
                </a:cubicBezTo>
                <a:cubicBezTo>
                  <a:pt x="5286" y="0"/>
                  <a:pt x="5286" y="0"/>
                  <a:pt x="5286" y="0"/>
                </a:cubicBezTo>
                <a:cubicBezTo>
                  <a:pt x="5216" y="0"/>
                  <a:pt x="5216" y="0"/>
                  <a:pt x="5216" y="0"/>
                </a:cubicBezTo>
                <a:lnTo>
                  <a:pt x="5042" y="211"/>
                </a:lnTo>
                <a:close/>
                <a:moveTo>
                  <a:pt x="3589" y="0"/>
                </a:moveTo>
                <a:cubicBezTo>
                  <a:pt x="3804" y="356"/>
                  <a:pt x="3804" y="356"/>
                  <a:pt x="3804" y="356"/>
                </a:cubicBezTo>
                <a:cubicBezTo>
                  <a:pt x="3706" y="356"/>
                  <a:pt x="3706" y="356"/>
                  <a:pt x="3706" y="356"/>
                </a:cubicBezTo>
                <a:cubicBezTo>
                  <a:pt x="3662" y="278"/>
                  <a:pt x="3662" y="278"/>
                  <a:pt x="3662" y="278"/>
                </a:cubicBezTo>
                <a:cubicBezTo>
                  <a:pt x="3426" y="278"/>
                  <a:pt x="3426" y="278"/>
                  <a:pt x="3426" y="278"/>
                </a:cubicBezTo>
                <a:cubicBezTo>
                  <a:pt x="3381" y="356"/>
                  <a:pt x="3381" y="356"/>
                  <a:pt x="3381" y="356"/>
                </a:cubicBezTo>
                <a:cubicBezTo>
                  <a:pt x="3294" y="356"/>
                  <a:pt x="3294" y="356"/>
                  <a:pt x="3294" y="356"/>
                </a:cubicBezTo>
                <a:cubicBezTo>
                  <a:pt x="3506" y="0"/>
                  <a:pt x="3506" y="0"/>
                  <a:pt x="3506" y="0"/>
                </a:cubicBezTo>
                <a:lnTo>
                  <a:pt x="3589" y="0"/>
                </a:lnTo>
                <a:close/>
                <a:moveTo>
                  <a:pt x="3626" y="213"/>
                </a:moveTo>
                <a:cubicBezTo>
                  <a:pt x="3543" y="65"/>
                  <a:pt x="3543" y="65"/>
                  <a:pt x="3543" y="65"/>
                </a:cubicBezTo>
                <a:cubicBezTo>
                  <a:pt x="3463" y="213"/>
                  <a:pt x="3463" y="213"/>
                  <a:pt x="3463" y="213"/>
                </a:cubicBezTo>
                <a:lnTo>
                  <a:pt x="3626" y="213"/>
                </a:lnTo>
                <a:close/>
                <a:moveTo>
                  <a:pt x="7676" y="202"/>
                </a:moveTo>
                <a:cubicBezTo>
                  <a:pt x="7848" y="202"/>
                  <a:pt x="7848" y="202"/>
                  <a:pt x="7848" y="202"/>
                </a:cubicBezTo>
                <a:cubicBezTo>
                  <a:pt x="7848" y="141"/>
                  <a:pt x="7848" y="141"/>
                  <a:pt x="7848" y="141"/>
                </a:cubicBezTo>
                <a:cubicBezTo>
                  <a:pt x="7676" y="141"/>
                  <a:pt x="7676" y="141"/>
                  <a:pt x="7676" y="141"/>
                </a:cubicBezTo>
                <a:cubicBezTo>
                  <a:pt x="7676" y="63"/>
                  <a:pt x="7676" y="63"/>
                  <a:pt x="7676" y="63"/>
                </a:cubicBezTo>
                <a:cubicBezTo>
                  <a:pt x="7971" y="63"/>
                  <a:pt x="7971" y="63"/>
                  <a:pt x="7971" y="63"/>
                </a:cubicBezTo>
                <a:cubicBezTo>
                  <a:pt x="7971" y="0"/>
                  <a:pt x="7971" y="0"/>
                  <a:pt x="7971" y="0"/>
                </a:cubicBezTo>
                <a:cubicBezTo>
                  <a:pt x="7589" y="0"/>
                  <a:pt x="7589" y="0"/>
                  <a:pt x="7589" y="0"/>
                </a:cubicBezTo>
                <a:cubicBezTo>
                  <a:pt x="7589" y="356"/>
                  <a:pt x="7589" y="356"/>
                  <a:pt x="7589" y="356"/>
                </a:cubicBezTo>
                <a:cubicBezTo>
                  <a:pt x="7975" y="356"/>
                  <a:pt x="7975" y="356"/>
                  <a:pt x="7975" y="356"/>
                </a:cubicBezTo>
                <a:cubicBezTo>
                  <a:pt x="7975" y="290"/>
                  <a:pt x="7975" y="290"/>
                  <a:pt x="7975" y="290"/>
                </a:cubicBezTo>
                <a:cubicBezTo>
                  <a:pt x="7676" y="290"/>
                  <a:pt x="7676" y="290"/>
                  <a:pt x="7676" y="290"/>
                </a:cubicBezTo>
                <a:lnTo>
                  <a:pt x="7676" y="202"/>
                </a:lnTo>
                <a:close/>
                <a:moveTo>
                  <a:pt x="4164" y="221"/>
                </a:moveTo>
                <a:cubicBezTo>
                  <a:pt x="4334" y="356"/>
                  <a:pt x="4334" y="356"/>
                  <a:pt x="4334" y="356"/>
                </a:cubicBezTo>
                <a:cubicBezTo>
                  <a:pt x="4209" y="356"/>
                  <a:pt x="4209" y="356"/>
                  <a:pt x="4209" y="356"/>
                </a:cubicBezTo>
                <a:cubicBezTo>
                  <a:pt x="4060" y="221"/>
                  <a:pt x="4060" y="221"/>
                  <a:pt x="4060" y="221"/>
                </a:cubicBezTo>
                <a:cubicBezTo>
                  <a:pt x="3978" y="221"/>
                  <a:pt x="3978" y="221"/>
                  <a:pt x="3978" y="221"/>
                </a:cubicBezTo>
                <a:cubicBezTo>
                  <a:pt x="3978" y="356"/>
                  <a:pt x="3978" y="356"/>
                  <a:pt x="3978" y="356"/>
                </a:cubicBezTo>
                <a:cubicBezTo>
                  <a:pt x="3892" y="356"/>
                  <a:pt x="3892" y="356"/>
                  <a:pt x="3892" y="356"/>
                </a:cubicBezTo>
                <a:cubicBezTo>
                  <a:pt x="3892" y="0"/>
                  <a:pt x="3892" y="0"/>
                  <a:pt x="3892" y="0"/>
                </a:cubicBezTo>
                <a:cubicBezTo>
                  <a:pt x="4213" y="0"/>
                  <a:pt x="4213" y="0"/>
                  <a:pt x="4213" y="0"/>
                </a:cubicBezTo>
                <a:cubicBezTo>
                  <a:pt x="4270" y="0"/>
                  <a:pt x="4296" y="19"/>
                  <a:pt x="4296" y="69"/>
                </a:cubicBezTo>
                <a:cubicBezTo>
                  <a:pt x="4296" y="153"/>
                  <a:pt x="4296" y="153"/>
                  <a:pt x="4296" y="153"/>
                </a:cubicBezTo>
                <a:cubicBezTo>
                  <a:pt x="4296" y="202"/>
                  <a:pt x="4270" y="221"/>
                  <a:pt x="4213" y="221"/>
                </a:cubicBezTo>
                <a:lnTo>
                  <a:pt x="4164" y="221"/>
                </a:lnTo>
                <a:close/>
                <a:moveTo>
                  <a:pt x="4176" y="160"/>
                </a:moveTo>
                <a:cubicBezTo>
                  <a:pt x="4202" y="160"/>
                  <a:pt x="4216" y="155"/>
                  <a:pt x="4216" y="131"/>
                </a:cubicBezTo>
                <a:cubicBezTo>
                  <a:pt x="4216" y="90"/>
                  <a:pt x="4216" y="90"/>
                  <a:pt x="4216" y="90"/>
                </a:cubicBezTo>
                <a:cubicBezTo>
                  <a:pt x="4216" y="67"/>
                  <a:pt x="4202" y="61"/>
                  <a:pt x="4176" y="61"/>
                </a:cubicBezTo>
                <a:cubicBezTo>
                  <a:pt x="3978" y="61"/>
                  <a:pt x="3978" y="61"/>
                  <a:pt x="3978" y="61"/>
                </a:cubicBezTo>
                <a:cubicBezTo>
                  <a:pt x="3978" y="160"/>
                  <a:pt x="3978" y="160"/>
                  <a:pt x="3978" y="160"/>
                </a:cubicBezTo>
                <a:lnTo>
                  <a:pt x="4176" y="160"/>
                </a:lnTo>
                <a:close/>
                <a:moveTo>
                  <a:pt x="3015" y="0"/>
                </a:moveTo>
                <a:cubicBezTo>
                  <a:pt x="3230" y="356"/>
                  <a:pt x="3230" y="356"/>
                  <a:pt x="3230" y="356"/>
                </a:cubicBezTo>
                <a:cubicBezTo>
                  <a:pt x="3132" y="356"/>
                  <a:pt x="3132" y="356"/>
                  <a:pt x="3132" y="356"/>
                </a:cubicBezTo>
                <a:cubicBezTo>
                  <a:pt x="3088" y="278"/>
                  <a:pt x="3088" y="278"/>
                  <a:pt x="3088" y="278"/>
                </a:cubicBezTo>
                <a:cubicBezTo>
                  <a:pt x="2852" y="278"/>
                  <a:pt x="2852" y="278"/>
                  <a:pt x="2852" y="278"/>
                </a:cubicBezTo>
                <a:cubicBezTo>
                  <a:pt x="2807" y="356"/>
                  <a:pt x="2807" y="356"/>
                  <a:pt x="2807" y="356"/>
                </a:cubicBezTo>
                <a:cubicBezTo>
                  <a:pt x="2721" y="356"/>
                  <a:pt x="2721" y="356"/>
                  <a:pt x="2721" y="356"/>
                </a:cubicBezTo>
                <a:cubicBezTo>
                  <a:pt x="2932" y="0"/>
                  <a:pt x="2932" y="0"/>
                  <a:pt x="2932" y="0"/>
                </a:cubicBezTo>
                <a:lnTo>
                  <a:pt x="3015" y="0"/>
                </a:lnTo>
                <a:close/>
                <a:moveTo>
                  <a:pt x="3052" y="213"/>
                </a:moveTo>
                <a:cubicBezTo>
                  <a:pt x="2969" y="65"/>
                  <a:pt x="2969" y="65"/>
                  <a:pt x="2969" y="65"/>
                </a:cubicBezTo>
                <a:cubicBezTo>
                  <a:pt x="2889" y="213"/>
                  <a:pt x="2889" y="213"/>
                  <a:pt x="2889" y="213"/>
                </a:cubicBezTo>
                <a:lnTo>
                  <a:pt x="3052" y="213"/>
                </a:lnTo>
                <a:close/>
                <a:moveTo>
                  <a:pt x="7046" y="64"/>
                </a:moveTo>
                <a:cubicBezTo>
                  <a:pt x="7217" y="64"/>
                  <a:pt x="7217" y="64"/>
                  <a:pt x="7217" y="64"/>
                </a:cubicBezTo>
                <a:cubicBezTo>
                  <a:pt x="7217" y="356"/>
                  <a:pt x="7217" y="356"/>
                  <a:pt x="7217" y="356"/>
                </a:cubicBezTo>
                <a:cubicBezTo>
                  <a:pt x="7304" y="356"/>
                  <a:pt x="7304" y="356"/>
                  <a:pt x="7304" y="356"/>
                </a:cubicBezTo>
                <a:cubicBezTo>
                  <a:pt x="7304" y="64"/>
                  <a:pt x="7304" y="64"/>
                  <a:pt x="7304" y="64"/>
                </a:cubicBezTo>
                <a:cubicBezTo>
                  <a:pt x="7477" y="64"/>
                  <a:pt x="7477" y="64"/>
                  <a:pt x="7477" y="64"/>
                </a:cubicBezTo>
                <a:cubicBezTo>
                  <a:pt x="7477" y="0"/>
                  <a:pt x="7477" y="0"/>
                  <a:pt x="7477" y="0"/>
                </a:cubicBezTo>
                <a:cubicBezTo>
                  <a:pt x="7046" y="0"/>
                  <a:pt x="7046" y="0"/>
                  <a:pt x="7046" y="0"/>
                </a:cubicBezTo>
                <a:lnTo>
                  <a:pt x="704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 name="***Titel 1"/>
          <p:cNvSpPr>
            <a:spLocks noGrp="1" noSelect="1"/>
          </p:cNvSpPr>
          <p:nvPr>
            <p:ph type="ctrTitle" hasCustomPrompt="1"/>
          </p:nvPr>
        </p:nvSpPr>
        <p:spPr bwMode="gray">
          <a:xfrm>
            <a:off x="1077861" y="3913999"/>
            <a:ext cx="10040516" cy="685952"/>
          </a:xfrm>
        </p:spPr>
        <p:txBody>
          <a:bodyPr anchor="t" anchorCtr="0"/>
          <a:lstStyle>
            <a:lvl1pPr algn="l">
              <a:defRPr sz="3600" baseline="0">
                <a:solidFill>
                  <a:srgbClr val="FFFFFF"/>
                </a:solidFill>
              </a:defRPr>
            </a:lvl1pPr>
          </a:lstStyle>
          <a:p>
            <a:r>
              <a:rPr lang="nl-NL" noProof="1"/>
              <a:t>[Titel]</a:t>
            </a:r>
          </a:p>
        </p:txBody>
      </p:sp>
      <p:sp>
        <p:nvSpPr>
          <p:cNvPr id="3" name="Ondertitel 2"/>
          <p:cNvSpPr>
            <a:spLocks noGrp="1" noSelect="1"/>
          </p:cNvSpPr>
          <p:nvPr>
            <p:ph type="subTitle" idx="1" hasCustomPrompt="1"/>
          </p:nvPr>
        </p:nvSpPr>
        <p:spPr bwMode="gray">
          <a:xfrm>
            <a:off x="1089134" y="4863460"/>
            <a:ext cx="10029243" cy="288000"/>
          </a:xfrm>
        </p:spPr>
        <p:txBody>
          <a:bodyPr/>
          <a:lstStyle>
            <a:lvl1pPr marL="0" indent="0" algn="l">
              <a:buNone/>
              <a:defRPr>
                <a:solidFill>
                  <a:srgbClr val="FFFFFF"/>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nl-NL" noProof="1"/>
              <a:t>[Subtitel]</a:t>
            </a:r>
          </a:p>
        </p:txBody>
      </p:sp>
      <p:sp>
        <p:nvSpPr>
          <p:cNvPr id="7" name="Tijdelijke aanduiding voor datum 6"/>
          <p:cNvSpPr>
            <a:spLocks noGrp="1" noSelect="1"/>
          </p:cNvSpPr>
          <p:nvPr>
            <p:ph type="dt" sz="half" idx="14"/>
          </p:nvPr>
        </p:nvSpPr>
        <p:spPr/>
        <p:txBody>
          <a:bodyPr/>
          <a:lstStyle/>
          <a:p>
            <a:fld id="{C0474095-6364-4494-AA4A-ACE7BD9D6CBB}" type="datetime4">
              <a:rPr lang="nl-NL" noProof="1" smtClean="0"/>
              <a:t>22 september 2022</a:t>
            </a:fld>
            <a:endParaRPr lang="nl-NL" noProof="1"/>
          </a:p>
        </p:txBody>
      </p:sp>
      <p:sp>
        <p:nvSpPr>
          <p:cNvPr id="9" name="Tijdelijke aanduiding voor voettekst 8"/>
          <p:cNvSpPr>
            <a:spLocks noGrp="1" noSelect="1"/>
          </p:cNvSpPr>
          <p:nvPr>
            <p:ph type="ftr" sz="quarter" idx="15"/>
          </p:nvPr>
        </p:nvSpPr>
        <p:spPr>
          <a:xfrm>
            <a:off x="1080000" y="2217600"/>
            <a:ext cx="10116000" cy="307765"/>
          </a:xfrm>
        </p:spPr>
        <p:txBody>
          <a:bodyPr/>
          <a:lstStyle/>
          <a:p>
            <a:r>
              <a:rPr lang="nl-NL" noProof="1"/>
              <a:t>[Plaats hier de aanduiding van het OM onderdeel]</a:t>
            </a:r>
          </a:p>
        </p:txBody>
      </p:sp>
      <p:sp>
        <p:nvSpPr>
          <p:cNvPr id="12" name="Rechthoek 11"/>
          <p:cNvSpPr>
            <a:spLocks noSelect="1"/>
          </p:cNvSpPr>
          <p:nvPr userDrawn="1"/>
        </p:nvSpPr>
        <p:spPr>
          <a:xfrm>
            <a:off x="-1285778" y="189362"/>
            <a:ext cx="1170156" cy="2520336"/>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nl-NL" sz="1000" dirty="0">
                <a:solidFill>
                  <a:schemeClr val="tx1"/>
                </a:solidFill>
              </a:rPr>
              <a:t>Via Invoegen | Koptekst en voettekst kan de datum, paginanummer en aanduiding</a:t>
            </a:r>
            <a:r>
              <a:rPr lang="nl-NL" sz="1000" baseline="0" dirty="0">
                <a:solidFill>
                  <a:schemeClr val="tx1"/>
                </a:solidFill>
              </a:rPr>
              <a:t> van het OM onderdeel geplaatst worden.</a:t>
            </a:r>
          </a:p>
          <a:p>
            <a:pPr algn="l"/>
            <a:endParaRPr lang="nl-NL" sz="1000" baseline="0" dirty="0">
              <a:solidFill>
                <a:schemeClr val="tx1"/>
              </a:solidFill>
            </a:endParaRPr>
          </a:p>
          <a:p>
            <a:pPr algn="l"/>
            <a:r>
              <a:rPr lang="nl-NL" sz="1000" baseline="0" dirty="0">
                <a:solidFill>
                  <a:schemeClr val="tx1"/>
                </a:solidFill>
              </a:rPr>
              <a:t>Dit instructie vak is niet te zien tijdens de presentatie.</a:t>
            </a:r>
            <a:endParaRPr lang="nl-NL" sz="1000" dirty="0">
              <a:solidFill>
                <a:schemeClr val="tx1"/>
              </a:solidFill>
            </a:endParaRPr>
          </a:p>
        </p:txBody>
      </p:sp>
      <p:sp>
        <p:nvSpPr>
          <p:cNvPr id="13" name="***Spreker"/>
          <p:cNvSpPr>
            <a:spLocks noGrp="1" noSelect="1"/>
          </p:cNvSpPr>
          <p:nvPr>
            <p:ph type="body" sz="quarter" idx="12" hasCustomPrompt="1"/>
          </p:nvPr>
        </p:nvSpPr>
        <p:spPr>
          <a:xfrm>
            <a:off x="1080000" y="720000"/>
            <a:ext cx="10080000" cy="457200"/>
          </a:xfrm>
        </p:spPr>
        <p:txBody>
          <a:bodyPr/>
          <a:lstStyle>
            <a:lvl1pPr marL="0" indent="0">
              <a:spcBef>
                <a:spcPts val="0"/>
              </a:spcBef>
              <a:spcAft>
                <a:spcPts val="0"/>
              </a:spcAft>
              <a:buNone/>
              <a:defRPr b="1" i="0"/>
            </a:lvl1pPr>
            <a:lvl2pPr marL="0" indent="0">
              <a:spcBef>
                <a:spcPts val="0"/>
              </a:spcBef>
              <a:spcAft>
                <a:spcPts val="0"/>
              </a:spcAft>
              <a:buNone/>
              <a:defRPr b="1" i="0"/>
            </a:lvl2pPr>
            <a:lvl3pPr marL="0" indent="0">
              <a:spcBef>
                <a:spcPts val="0"/>
              </a:spcBef>
              <a:spcAft>
                <a:spcPts val="0"/>
              </a:spcAft>
              <a:buNone/>
              <a:defRPr b="1" i="0"/>
            </a:lvl3pPr>
            <a:lvl4pPr marL="0" indent="0">
              <a:spcBef>
                <a:spcPts val="0"/>
              </a:spcBef>
              <a:spcAft>
                <a:spcPts val="0"/>
              </a:spcAft>
              <a:buFont typeface="Arial" panose="020B0604020202020204" pitchFamily="34" charset="0"/>
              <a:buNone/>
              <a:defRPr b="1" i="0"/>
            </a:lvl4pPr>
            <a:lvl5pPr marL="0" indent="0">
              <a:spcBef>
                <a:spcPts val="0"/>
              </a:spcBef>
              <a:spcAft>
                <a:spcPts val="0"/>
              </a:spcAft>
              <a:buFont typeface="Arial" panose="020B0604020202020204" pitchFamily="34" charset="0"/>
              <a:buNone/>
              <a:defRPr b="1" i="0"/>
            </a:lvl5pPr>
            <a:lvl6pPr marL="0" indent="0">
              <a:spcBef>
                <a:spcPts val="0"/>
              </a:spcBef>
              <a:spcAft>
                <a:spcPts val="0"/>
              </a:spcAft>
              <a:buFont typeface="Arial" panose="020B0604020202020204" pitchFamily="34" charset="0"/>
              <a:buNone/>
              <a:defRPr b="1" i="0"/>
            </a:lvl6pPr>
            <a:lvl7pPr marL="0" indent="0">
              <a:spcBef>
                <a:spcPts val="0"/>
              </a:spcBef>
              <a:spcAft>
                <a:spcPts val="0"/>
              </a:spcAft>
              <a:buFont typeface="Arial" panose="020B0604020202020204" pitchFamily="34" charset="0"/>
              <a:buNone/>
              <a:defRPr b="1" i="0"/>
            </a:lvl7pPr>
            <a:lvl8pPr marL="0" indent="0">
              <a:spcBef>
                <a:spcPts val="0"/>
              </a:spcBef>
              <a:spcAft>
                <a:spcPts val="0"/>
              </a:spcAft>
              <a:buFont typeface="Arial" panose="020B0604020202020204" pitchFamily="34" charset="0"/>
              <a:buNone/>
              <a:defRPr b="1" i="0"/>
            </a:lvl8pPr>
            <a:lvl9pPr marL="0" indent="0">
              <a:spcBef>
                <a:spcPts val="0"/>
              </a:spcBef>
              <a:spcAft>
                <a:spcPts val="0"/>
              </a:spcAft>
              <a:buFont typeface="Arial" panose="020B0604020202020204" pitchFamily="34" charset="0"/>
              <a:buNone/>
              <a:defRPr b="1" i="0"/>
            </a:lvl9pPr>
          </a:lstStyle>
          <a:p>
            <a:pPr lvl="0"/>
            <a:r>
              <a:rPr lang="nl-NL" dirty="0"/>
              <a:t>[Naam spreker]</a:t>
            </a:r>
          </a:p>
          <a:p>
            <a:pPr lvl="0"/>
            <a:endParaRPr lang="nl-NL" dirty="0"/>
          </a:p>
        </p:txBody>
      </p:sp>
    </p:spTree>
    <p:extLst>
      <p:ext uri="{BB962C8B-B14F-4D97-AF65-F5344CB8AC3E}">
        <p14:creationId xmlns:p14="http://schemas.microsoft.com/office/powerpoint/2010/main" val="15692679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dia (Paars en Oranje)">
    <p:spTree>
      <p:nvGrpSpPr>
        <p:cNvPr id="1" name=""/>
        <p:cNvGrpSpPr/>
        <p:nvPr/>
      </p:nvGrpSpPr>
      <p:grpSpPr>
        <a:xfrm>
          <a:off x="0" y="0"/>
          <a:ext cx="0" cy="0"/>
          <a:chOff x="0" y="0"/>
          <a:chExt cx="0" cy="0"/>
        </a:xfrm>
      </p:grpSpPr>
      <p:sp>
        <p:nvSpPr>
          <p:cNvPr id="10" name="Rectangle 3"/>
          <p:cNvSpPr>
            <a:spLocks noSelect="1" noChangeArrowheads="1"/>
          </p:cNvSpPr>
          <p:nvPr userDrawn="1"/>
        </p:nvSpPr>
        <p:spPr bwMode="gray">
          <a:xfrm>
            <a:off x="0" y="0"/>
            <a:ext cx="12189600" cy="1709738"/>
          </a:xfrm>
          <a:prstGeom prst="rect">
            <a:avLst/>
          </a:prstGeom>
          <a:solidFill>
            <a:srgbClr val="ED6A00"/>
          </a:solidFill>
          <a:ln>
            <a:noFill/>
          </a:ln>
          <a:effectLst/>
        </p:spPr>
        <p:txBody>
          <a:bodyPr wrap="none" anchor="ctr"/>
          <a:lstStyle/>
          <a:p>
            <a:pPr eaLnBrk="1" hangingPunct="1">
              <a:defRPr/>
            </a:pPr>
            <a:endParaRPr lang="nl-NL" dirty="0">
              <a:latin typeface="Arial Black" charset="0"/>
            </a:endParaRPr>
          </a:p>
        </p:txBody>
      </p:sp>
      <p:sp>
        <p:nvSpPr>
          <p:cNvPr id="15" name="Rechthoek 14"/>
          <p:cNvSpPr>
            <a:spLocks noSelect="1"/>
          </p:cNvSpPr>
          <p:nvPr userDrawn="1"/>
        </p:nvSpPr>
        <p:spPr bwMode="gray">
          <a:xfrm>
            <a:off x="813" y="1696403"/>
            <a:ext cx="12189600" cy="450000"/>
          </a:xfrm>
          <a:prstGeom prst="rect">
            <a:avLst/>
          </a:prstGeom>
          <a:solidFill>
            <a:srgbClr val="001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0" name="Freeform 5"/>
          <p:cNvSpPr>
            <a:spLocks noSelect="1"/>
          </p:cNvSpPr>
          <p:nvPr userDrawn="1"/>
        </p:nvSpPr>
        <p:spPr bwMode="gray">
          <a:xfrm>
            <a:off x="1089025" y="1876425"/>
            <a:ext cx="2944813" cy="114300"/>
          </a:xfrm>
          <a:custGeom>
            <a:avLst/>
            <a:gdLst>
              <a:gd name="T0" fmla="*/ 6618 w 9279"/>
              <a:gd name="T1" fmla="*/ 356 h 356"/>
              <a:gd name="T2" fmla="*/ 6602 w 9279"/>
              <a:gd name="T3" fmla="*/ 290 h 356"/>
              <a:gd name="T4" fmla="*/ 6540 w 9279"/>
              <a:gd name="T5" fmla="*/ 124 h 356"/>
              <a:gd name="T6" fmla="*/ 6938 w 9279"/>
              <a:gd name="T7" fmla="*/ 78 h 356"/>
              <a:gd name="T8" fmla="*/ 6618 w 9279"/>
              <a:gd name="T9" fmla="*/ 64 h 356"/>
              <a:gd name="T10" fmla="*/ 8373 w 9279"/>
              <a:gd name="T11" fmla="*/ 222 h 356"/>
              <a:gd name="T12" fmla="*/ 8186 w 9279"/>
              <a:gd name="T13" fmla="*/ 222 h 356"/>
              <a:gd name="T14" fmla="*/ 8421 w 9279"/>
              <a:gd name="T15" fmla="*/ 0 h 356"/>
              <a:gd name="T16" fmla="*/ 8373 w 9279"/>
              <a:gd name="T17" fmla="*/ 222 h 356"/>
              <a:gd name="T18" fmla="*/ 8384 w 9279"/>
              <a:gd name="T19" fmla="*/ 61 h 356"/>
              <a:gd name="T20" fmla="*/ 2014 w 9279"/>
              <a:gd name="T21" fmla="*/ 237 h 356"/>
              <a:gd name="T22" fmla="*/ 1731 w 9279"/>
              <a:gd name="T23" fmla="*/ 356 h 356"/>
              <a:gd name="T24" fmla="*/ 2092 w 9279"/>
              <a:gd name="T25" fmla="*/ 0 h 356"/>
              <a:gd name="T26" fmla="*/ 2643 w 9279"/>
              <a:gd name="T27" fmla="*/ 286 h 356"/>
              <a:gd name="T28" fmla="*/ 2556 w 9279"/>
              <a:gd name="T29" fmla="*/ 0 h 356"/>
              <a:gd name="T30" fmla="*/ 2643 w 9279"/>
              <a:gd name="T31" fmla="*/ 241 h 356"/>
              <a:gd name="T32" fmla="*/ 2555 w 9279"/>
              <a:gd name="T33" fmla="*/ 83 h 356"/>
              <a:gd name="T34" fmla="*/ 2559 w 9279"/>
              <a:gd name="T35" fmla="*/ 233 h 356"/>
              <a:gd name="T36" fmla="*/ 2517 w 9279"/>
              <a:gd name="T37" fmla="*/ 292 h 356"/>
              <a:gd name="T38" fmla="*/ 8980 w 9279"/>
              <a:gd name="T39" fmla="*/ 202 h 356"/>
              <a:gd name="T40" fmla="*/ 8980 w 9279"/>
              <a:gd name="T41" fmla="*/ 63 h 356"/>
              <a:gd name="T42" fmla="*/ 8893 w 9279"/>
              <a:gd name="T43" fmla="*/ 356 h 356"/>
              <a:gd name="T44" fmla="*/ 1227 w 9279"/>
              <a:gd name="T45" fmla="*/ 202 h 356"/>
              <a:gd name="T46" fmla="*/ 1227 w 9279"/>
              <a:gd name="T47" fmla="*/ 63 h 356"/>
              <a:gd name="T48" fmla="*/ 1140 w 9279"/>
              <a:gd name="T49" fmla="*/ 356 h 356"/>
              <a:gd name="T50" fmla="*/ 1227 w 9279"/>
              <a:gd name="T51" fmla="*/ 202 h 356"/>
              <a:gd name="T52" fmla="*/ 93 w 9279"/>
              <a:gd name="T53" fmla="*/ 356 h 356"/>
              <a:gd name="T54" fmla="*/ 368 w 9279"/>
              <a:gd name="T55" fmla="*/ 0 h 356"/>
              <a:gd name="T56" fmla="*/ 87 w 9279"/>
              <a:gd name="T57" fmla="*/ 288 h 356"/>
              <a:gd name="T58" fmla="*/ 1015 w 9279"/>
              <a:gd name="T59" fmla="*/ 148 h 356"/>
              <a:gd name="T60" fmla="*/ 611 w 9279"/>
              <a:gd name="T61" fmla="*/ 356 h 356"/>
              <a:gd name="T62" fmla="*/ 934 w 9279"/>
              <a:gd name="T63" fmla="*/ 90 h 356"/>
              <a:gd name="T64" fmla="*/ 895 w 9279"/>
              <a:gd name="T65" fmla="*/ 156 h 356"/>
              <a:gd name="T66" fmla="*/ 8735 w 9279"/>
              <a:gd name="T67" fmla="*/ 356 h 356"/>
              <a:gd name="T68" fmla="*/ 6051 w 9279"/>
              <a:gd name="T69" fmla="*/ 237 h 356"/>
              <a:gd name="T70" fmla="*/ 5768 w 9279"/>
              <a:gd name="T71" fmla="*/ 356 h 356"/>
              <a:gd name="T72" fmla="*/ 6129 w 9279"/>
              <a:gd name="T73" fmla="*/ 0 h 356"/>
              <a:gd name="T74" fmla="*/ 5444 w 9279"/>
              <a:gd name="T75" fmla="*/ 178 h 356"/>
              <a:gd name="T76" fmla="*/ 5531 w 9279"/>
              <a:gd name="T77" fmla="*/ 178 h 356"/>
              <a:gd name="T78" fmla="*/ 6288 w 9279"/>
              <a:gd name="T79" fmla="*/ 356 h 356"/>
              <a:gd name="T80" fmla="*/ 6288 w 9279"/>
              <a:gd name="T81" fmla="*/ 356 h 356"/>
              <a:gd name="T82" fmla="*/ 4798 w 9279"/>
              <a:gd name="T83" fmla="*/ 356 h 356"/>
              <a:gd name="T84" fmla="*/ 5046 w 9279"/>
              <a:gd name="T85" fmla="*/ 313 h 356"/>
              <a:gd name="T86" fmla="*/ 5286 w 9279"/>
              <a:gd name="T87" fmla="*/ 0 h 356"/>
              <a:gd name="T88" fmla="*/ 3804 w 9279"/>
              <a:gd name="T89" fmla="*/ 356 h 356"/>
              <a:gd name="T90" fmla="*/ 3381 w 9279"/>
              <a:gd name="T91" fmla="*/ 356 h 356"/>
              <a:gd name="T92" fmla="*/ 3626 w 9279"/>
              <a:gd name="T93" fmla="*/ 213 h 356"/>
              <a:gd name="T94" fmla="*/ 7676 w 9279"/>
              <a:gd name="T95" fmla="*/ 202 h 356"/>
              <a:gd name="T96" fmla="*/ 7676 w 9279"/>
              <a:gd name="T97" fmla="*/ 63 h 356"/>
              <a:gd name="T98" fmla="*/ 7589 w 9279"/>
              <a:gd name="T99" fmla="*/ 356 h 356"/>
              <a:gd name="T100" fmla="*/ 7676 w 9279"/>
              <a:gd name="T101" fmla="*/ 202 h 356"/>
              <a:gd name="T102" fmla="*/ 4060 w 9279"/>
              <a:gd name="T103" fmla="*/ 221 h 356"/>
              <a:gd name="T104" fmla="*/ 3892 w 9279"/>
              <a:gd name="T105" fmla="*/ 0 h 356"/>
              <a:gd name="T106" fmla="*/ 4213 w 9279"/>
              <a:gd name="T107" fmla="*/ 221 h 356"/>
              <a:gd name="T108" fmla="*/ 4216 w 9279"/>
              <a:gd name="T109" fmla="*/ 90 h 356"/>
              <a:gd name="T110" fmla="*/ 4176 w 9279"/>
              <a:gd name="T111" fmla="*/ 160 h 356"/>
              <a:gd name="T112" fmla="*/ 3088 w 9279"/>
              <a:gd name="T113" fmla="*/ 278 h 356"/>
              <a:gd name="T114" fmla="*/ 2932 w 9279"/>
              <a:gd name="T115" fmla="*/ 0 h 356"/>
              <a:gd name="T116" fmla="*/ 2889 w 9279"/>
              <a:gd name="T117" fmla="*/ 213 h 356"/>
              <a:gd name="T118" fmla="*/ 7217 w 9279"/>
              <a:gd name="T119" fmla="*/ 356 h 356"/>
              <a:gd name="T120" fmla="*/ 7477 w 9279"/>
              <a:gd name="T121"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79" h="356">
                <a:moveTo>
                  <a:pt x="6942" y="223"/>
                </a:moveTo>
                <a:cubicBezTo>
                  <a:pt x="6942" y="272"/>
                  <a:pt x="6942" y="272"/>
                  <a:pt x="6942" y="272"/>
                </a:cubicBezTo>
                <a:cubicBezTo>
                  <a:pt x="6942" y="339"/>
                  <a:pt x="6920" y="356"/>
                  <a:pt x="6849" y="356"/>
                </a:cubicBezTo>
                <a:cubicBezTo>
                  <a:pt x="6618" y="356"/>
                  <a:pt x="6618" y="356"/>
                  <a:pt x="6618" y="356"/>
                </a:cubicBezTo>
                <a:cubicBezTo>
                  <a:pt x="6547" y="356"/>
                  <a:pt x="6524" y="339"/>
                  <a:pt x="6524" y="272"/>
                </a:cubicBezTo>
                <a:cubicBezTo>
                  <a:pt x="6524" y="262"/>
                  <a:pt x="6524" y="262"/>
                  <a:pt x="6524" y="262"/>
                </a:cubicBezTo>
                <a:cubicBezTo>
                  <a:pt x="6602" y="248"/>
                  <a:pt x="6602" y="248"/>
                  <a:pt x="6602" y="248"/>
                </a:cubicBezTo>
                <a:cubicBezTo>
                  <a:pt x="6602" y="290"/>
                  <a:pt x="6602" y="290"/>
                  <a:pt x="6602" y="290"/>
                </a:cubicBezTo>
                <a:cubicBezTo>
                  <a:pt x="6864" y="290"/>
                  <a:pt x="6864" y="290"/>
                  <a:pt x="6864" y="290"/>
                </a:cubicBezTo>
                <a:cubicBezTo>
                  <a:pt x="6864" y="208"/>
                  <a:pt x="6864" y="208"/>
                  <a:pt x="6864" y="208"/>
                </a:cubicBezTo>
                <a:cubicBezTo>
                  <a:pt x="6633" y="208"/>
                  <a:pt x="6633" y="208"/>
                  <a:pt x="6633" y="208"/>
                </a:cubicBezTo>
                <a:cubicBezTo>
                  <a:pt x="6563" y="208"/>
                  <a:pt x="6540" y="191"/>
                  <a:pt x="6540" y="124"/>
                </a:cubicBezTo>
                <a:cubicBezTo>
                  <a:pt x="6540" y="84"/>
                  <a:pt x="6540" y="84"/>
                  <a:pt x="6540" y="84"/>
                </a:cubicBezTo>
                <a:cubicBezTo>
                  <a:pt x="6540" y="17"/>
                  <a:pt x="6563" y="0"/>
                  <a:pt x="6633" y="0"/>
                </a:cubicBezTo>
                <a:cubicBezTo>
                  <a:pt x="6844" y="0"/>
                  <a:pt x="6844" y="0"/>
                  <a:pt x="6844" y="0"/>
                </a:cubicBezTo>
                <a:cubicBezTo>
                  <a:pt x="6910" y="0"/>
                  <a:pt x="6938" y="15"/>
                  <a:pt x="6938" y="78"/>
                </a:cubicBezTo>
                <a:cubicBezTo>
                  <a:pt x="6938" y="86"/>
                  <a:pt x="6938" y="86"/>
                  <a:pt x="6938" y="86"/>
                </a:cubicBezTo>
                <a:cubicBezTo>
                  <a:pt x="6863" y="102"/>
                  <a:pt x="6863" y="102"/>
                  <a:pt x="6863" y="102"/>
                </a:cubicBezTo>
                <a:cubicBezTo>
                  <a:pt x="6863" y="64"/>
                  <a:pt x="6863" y="64"/>
                  <a:pt x="6863" y="64"/>
                </a:cubicBezTo>
                <a:cubicBezTo>
                  <a:pt x="6618" y="64"/>
                  <a:pt x="6618" y="64"/>
                  <a:pt x="6618" y="64"/>
                </a:cubicBezTo>
                <a:cubicBezTo>
                  <a:pt x="6618" y="139"/>
                  <a:pt x="6618" y="139"/>
                  <a:pt x="6618" y="139"/>
                </a:cubicBezTo>
                <a:cubicBezTo>
                  <a:pt x="6849" y="139"/>
                  <a:pt x="6849" y="139"/>
                  <a:pt x="6849" y="139"/>
                </a:cubicBezTo>
                <a:cubicBezTo>
                  <a:pt x="6920" y="139"/>
                  <a:pt x="6942" y="156"/>
                  <a:pt x="6942" y="223"/>
                </a:cubicBezTo>
                <a:close/>
                <a:moveTo>
                  <a:pt x="8373" y="222"/>
                </a:moveTo>
                <a:cubicBezTo>
                  <a:pt x="8542" y="356"/>
                  <a:pt x="8542" y="356"/>
                  <a:pt x="8542" y="356"/>
                </a:cubicBezTo>
                <a:cubicBezTo>
                  <a:pt x="8417" y="356"/>
                  <a:pt x="8417" y="356"/>
                  <a:pt x="8417" y="356"/>
                </a:cubicBezTo>
                <a:cubicBezTo>
                  <a:pt x="8268" y="222"/>
                  <a:pt x="8268" y="222"/>
                  <a:pt x="8268" y="222"/>
                </a:cubicBezTo>
                <a:cubicBezTo>
                  <a:pt x="8186" y="222"/>
                  <a:pt x="8186" y="222"/>
                  <a:pt x="8186" y="222"/>
                </a:cubicBezTo>
                <a:cubicBezTo>
                  <a:pt x="8186" y="356"/>
                  <a:pt x="8186" y="356"/>
                  <a:pt x="8186" y="356"/>
                </a:cubicBezTo>
                <a:cubicBezTo>
                  <a:pt x="8101" y="356"/>
                  <a:pt x="8101" y="356"/>
                  <a:pt x="8101" y="356"/>
                </a:cubicBezTo>
                <a:cubicBezTo>
                  <a:pt x="8101" y="0"/>
                  <a:pt x="8101" y="0"/>
                  <a:pt x="8101" y="0"/>
                </a:cubicBezTo>
                <a:cubicBezTo>
                  <a:pt x="8421" y="0"/>
                  <a:pt x="8421" y="0"/>
                  <a:pt x="8421" y="0"/>
                </a:cubicBezTo>
                <a:cubicBezTo>
                  <a:pt x="8479" y="0"/>
                  <a:pt x="8505" y="19"/>
                  <a:pt x="8505" y="69"/>
                </a:cubicBezTo>
                <a:cubicBezTo>
                  <a:pt x="8505" y="153"/>
                  <a:pt x="8505" y="153"/>
                  <a:pt x="8505" y="153"/>
                </a:cubicBezTo>
                <a:cubicBezTo>
                  <a:pt x="8505" y="202"/>
                  <a:pt x="8479" y="222"/>
                  <a:pt x="8421" y="222"/>
                </a:cubicBezTo>
                <a:lnTo>
                  <a:pt x="8373" y="222"/>
                </a:lnTo>
                <a:close/>
                <a:moveTo>
                  <a:pt x="8384" y="160"/>
                </a:moveTo>
                <a:cubicBezTo>
                  <a:pt x="8410" y="160"/>
                  <a:pt x="8424" y="155"/>
                  <a:pt x="8424" y="131"/>
                </a:cubicBezTo>
                <a:cubicBezTo>
                  <a:pt x="8424" y="90"/>
                  <a:pt x="8424" y="90"/>
                  <a:pt x="8424" y="90"/>
                </a:cubicBezTo>
                <a:cubicBezTo>
                  <a:pt x="8424" y="67"/>
                  <a:pt x="8410" y="61"/>
                  <a:pt x="8384" y="61"/>
                </a:cubicBezTo>
                <a:cubicBezTo>
                  <a:pt x="8186" y="61"/>
                  <a:pt x="8186" y="61"/>
                  <a:pt x="8186" y="61"/>
                </a:cubicBezTo>
                <a:cubicBezTo>
                  <a:pt x="8186" y="160"/>
                  <a:pt x="8186" y="160"/>
                  <a:pt x="8186" y="160"/>
                </a:cubicBezTo>
                <a:lnTo>
                  <a:pt x="8384" y="160"/>
                </a:lnTo>
                <a:close/>
                <a:moveTo>
                  <a:pt x="2014" y="237"/>
                </a:moveTo>
                <a:cubicBezTo>
                  <a:pt x="1711" y="0"/>
                  <a:pt x="1711" y="0"/>
                  <a:pt x="1711" y="0"/>
                </a:cubicBezTo>
                <a:cubicBezTo>
                  <a:pt x="1652" y="0"/>
                  <a:pt x="1652" y="0"/>
                  <a:pt x="1652" y="0"/>
                </a:cubicBezTo>
                <a:cubicBezTo>
                  <a:pt x="1652" y="356"/>
                  <a:pt x="1652" y="356"/>
                  <a:pt x="1652" y="356"/>
                </a:cubicBezTo>
                <a:cubicBezTo>
                  <a:pt x="1731" y="356"/>
                  <a:pt x="1731" y="356"/>
                  <a:pt x="1731" y="356"/>
                </a:cubicBezTo>
                <a:cubicBezTo>
                  <a:pt x="1731" y="116"/>
                  <a:pt x="1731" y="116"/>
                  <a:pt x="1731" y="116"/>
                </a:cubicBezTo>
                <a:cubicBezTo>
                  <a:pt x="2032" y="356"/>
                  <a:pt x="2032" y="356"/>
                  <a:pt x="2032" y="356"/>
                </a:cubicBezTo>
                <a:cubicBezTo>
                  <a:pt x="2092" y="356"/>
                  <a:pt x="2092" y="356"/>
                  <a:pt x="2092" y="356"/>
                </a:cubicBezTo>
                <a:cubicBezTo>
                  <a:pt x="2092" y="0"/>
                  <a:pt x="2092" y="0"/>
                  <a:pt x="2092" y="0"/>
                </a:cubicBezTo>
                <a:cubicBezTo>
                  <a:pt x="2014" y="0"/>
                  <a:pt x="2014" y="0"/>
                  <a:pt x="2014" y="0"/>
                </a:cubicBezTo>
                <a:lnTo>
                  <a:pt x="2014" y="237"/>
                </a:lnTo>
                <a:close/>
                <a:moveTo>
                  <a:pt x="2643" y="241"/>
                </a:moveTo>
                <a:cubicBezTo>
                  <a:pt x="2643" y="286"/>
                  <a:pt x="2643" y="286"/>
                  <a:pt x="2643" y="286"/>
                </a:cubicBezTo>
                <a:cubicBezTo>
                  <a:pt x="2643" y="334"/>
                  <a:pt x="2606" y="356"/>
                  <a:pt x="2533" y="356"/>
                </a:cubicBezTo>
                <a:cubicBezTo>
                  <a:pt x="2236" y="356"/>
                  <a:pt x="2236" y="356"/>
                  <a:pt x="2236" y="356"/>
                </a:cubicBezTo>
                <a:cubicBezTo>
                  <a:pt x="2236" y="0"/>
                  <a:pt x="2236" y="0"/>
                  <a:pt x="2236" y="0"/>
                </a:cubicBezTo>
                <a:cubicBezTo>
                  <a:pt x="2556" y="0"/>
                  <a:pt x="2556" y="0"/>
                  <a:pt x="2556" y="0"/>
                </a:cubicBezTo>
                <a:cubicBezTo>
                  <a:pt x="2613" y="0"/>
                  <a:pt x="2640" y="19"/>
                  <a:pt x="2640" y="69"/>
                </a:cubicBezTo>
                <a:cubicBezTo>
                  <a:pt x="2640" y="112"/>
                  <a:pt x="2640" y="112"/>
                  <a:pt x="2640" y="112"/>
                </a:cubicBezTo>
                <a:cubicBezTo>
                  <a:pt x="2640" y="145"/>
                  <a:pt x="2619" y="166"/>
                  <a:pt x="2580" y="173"/>
                </a:cubicBezTo>
                <a:cubicBezTo>
                  <a:pt x="2620" y="179"/>
                  <a:pt x="2643" y="205"/>
                  <a:pt x="2643" y="241"/>
                </a:cubicBezTo>
                <a:close/>
                <a:moveTo>
                  <a:pt x="2322" y="142"/>
                </a:moveTo>
                <a:cubicBezTo>
                  <a:pt x="2517" y="142"/>
                  <a:pt x="2517" y="142"/>
                  <a:pt x="2517" y="142"/>
                </a:cubicBezTo>
                <a:cubicBezTo>
                  <a:pt x="2543" y="142"/>
                  <a:pt x="2555" y="138"/>
                  <a:pt x="2555" y="117"/>
                </a:cubicBezTo>
                <a:cubicBezTo>
                  <a:pt x="2555" y="83"/>
                  <a:pt x="2555" y="83"/>
                  <a:pt x="2555" y="83"/>
                </a:cubicBezTo>
                <a:cubicBezTo>
                  <a:pt x="2555" y="62"/>
                  <a:pt x="2544" y="58"/>
                  <a:pt x="2517" y="58"/>
                </a:cubicBezTo>
                <a:cubicBezTo>
                  <a:pt x="2322" y="58"/>
                  <a:pt x="2322" y="58"/>
                  <a:pt x="2322" y="58"/>
                </a:cubicBezTo>
                <a:lnTo>
                  <a:pt x="2322" y="142"/>
                </a:lnTo>
                <a:close/>
                <a:moveTo>
                  <a:pt x="2559" y="233"/>
                </a:moveTo>
                <a:cubicBezTo>
                  <a:pt x="2559" y="207"/>
                  <a:pt x="2546" y="201"/>
                  <a:pt x="2517" y="201"/>
                </a:cubicBezTo>
                <a:cubicBezTo>
                  <a:pt x="2322" y="201"/>
                  <a:pt x="2322" y="201"/>
                  <a:pt x="2322" y="201"/>
                </a:cubicBezTo>
                <a:cubicBezTo>
                  <a:pt x="2322" y="292"/>
                  <a:pt x="2322" y="292"/>
                  <a:pt x="2322" y="292"/>
                </a:cubicBezTo>
                <a:cubicBezTo>
                  <a:pt x="2517" y="292"/>
                  <a:pt x="2517" y="292"/>
                  <a:pt x="2517" y="292"/>
                </a:cubicBezTo>
                <a:cubicBezTo>
                  <a:pt x="2546" y="292"/>
                  <a:pt x="2559" y="286"/>
                  <a:pt x="2559" y="260"/>
                </a:cubicBezTo>
                <a:lnTo>
                  <a:pt x="2559" y="233"/>
                </a:lnTo>
                <a:close/>
                <a:moveTo>
                  <a:pt x="8980" y="290"/>
                </a:moveTo>
                <a:cubicBezTo>
                  <a:pt x="8980" y="202"/>
                  <a:pt x="8980" y="202"/>
                  <a:pt x="8980" y="202"/>
                </a:cubicBezTo>
                <a:cubicBezTo>
                  <a:pt x="9152" y="202"/>
                  <a:pt x="9152" y="202"/>
                  <a:pt x="9152" y="202"/>
                </a:cubicBezTo>
                <a:cubicBezTo>
                  <a:pt x="9152" y="141"/>
                  <a:pt x="9152" y="141"/>
                  <a:pt x="9152" y="141"/>
                </a:cubicBezTo>
                <a:cubicBezTo>
                  <a:pt x="8980" y="141"/>
                  <a:pt x="8980" y="141"/>
                  <a:pt x="8980" y="141"/>
                </a:cubicBezTo>
                <a:cubicBezTo>
                  <a:pt x="8980" y="63"/>
                  <a:pt x="8980" y="63"/>
                  <a:pt x="8980" y="63"/>
                </a:cubicBezTo>
                <a:cubicBezTo>
                  <a:pt x="9275" y="63"/>
                  <a:pt x="9275" y="63"/>
                  <a:pt x="9275" y="63"/>
                </a:cubicBezTo>
                <a:cubicBezTo>
                  <a:pt x="9275" y="0"/>
                  <a:pt x="9275" y="0"/>
                  <a:pt x="9275" y="0"/>
                </a:cubicBezTo>
                <a:cubicBezTo>
                  <a:pt x="8893" y="0"/>
                  <a:pt x="8893" y="0"/>
                  <a:pt x="8893" y="0"/>
                </a:cubicBezTo>
                <a:cubicBezTo>
                  <a:pt x="8893" y="356"/>
                  <a:pt x="8893" y="356"/>
                  <a:pt x="8893" y="356"/>
                </a:cubicBezTo>
                <a:cubicBezTo>
                  <a:pt x="9279" y="356"/>
                  <a:pt x="9279" y="356"/>
                  <a:pt x="9279" y="356"/>
                </a:cubicBezTo>
                <a:cubicBezTo>
                  <a:pt x="9279" y="290"/>
                  <a:pt x="9279" y="290"/>
                  <a:pt x="9279" y="290"/>
                </a:cubicBezTo>
                <a:lnTo>
                  <a:pt x="8980" y="290"/>
                </a:lnTo>
                <a:close/>
                <a:moveTo>
                  <a:pt x="1227" y="202"/>
                </a:moveTo>
                <a:cubicBezTo>
                  <a:pt x="1399" y="202"/>
                  <a:pt x="1399" y="202"/>
                  <a:pt x="1399" y="202"/>
                </a:cubicBezTo>
                <a:cubicBezTo>
                  <a:pt x="1399" y="141"/>
                  <a:pt x="1399" y="141"/>
                  <a:pt x="1399" y="141"/>
                </a:cubicBezTo>
                <a:cubicBezTo>
                  <a:pt x="1227" y="141"/>
                  <a:pt x="1227" y="141"/>
                  <a:pt x="1227" y="141"/>
                </a:cubicBezTo>
                <a:cubicBezTo>
                  <a:pt x="1227" y="63"/>
                  <a:pt x="1227" y="63"/>
                  <a:pt x="1227" y="63"/>
                </a:cubicBezTo>
                <a:cubicBezTo>
                  <a:pt x="1522" y="63"/>
                  <a:pt x="1522" y="63"/>
                  <a:pt x="1522" y="63"/>
                </a:cubicBezTo>
                <a:cubicBezTo>
                  <a:pt x="1522" y="0"/>
                  <a:pt x="1522" y="0"/>
                  <a:pt x="1522" y="0"/>
                </a:cubicBezTo>
                <a:cubicBezTo>
                  <a:pt x="1140" y="0"/>
                  <a:pt x="1140" y="0"/>
                  <a:pt x="1140" y="0"/>
                </a:cubicBezTo>
                <a:cubicBezTo>
                  <a:pt x="1140" y="356"/>
                  <a:pt x="1140" y="356"/>
                  <a:pt x="1140" y="356"/>
                </a:cubicBezTo>
                <a:cubicBezTo>
                  <a:pt x="1526" y="356"/>
                  <a:pt x="1526" y="356"/>
                  <a:pt x="1526" y="356"/>
                </a:cubicBezTo>
                <a:cubicBezTo>
                  <a:pt x="1526" y="290"/>
                  <a:pt x="1526" y="290"/>
                  <a:pt x="1526" y="290"/>
                </a:cubicBezTo>
                <a:cubicBezTo>
                  <a:pt x="1227" y="290"/>
                  <a:pt x="1227" y="290"/>
                  <a:pt x="1227" y="290"/>
                </a:cubicBezTo>
                <a:lnTo>
                  <a:pt x="1227" y="202"/>
                </a:lnTo>
                <a:close/>
                <a:moveTo>
                  <a:pt x="461" y="84"/>
                </a:moveTo>
                <a:cubicBezTo>
                  <a:pt x="461" y="272"/>
                  <a:pt x="461" y="272"/>
                  <a:pt x="461" y="272"/>
                </a:cubicBezTo>
                <a:cubicBezTo>
                  <a:pt x="461" y="339"/>
                  <a:pt x="438" y="356"/>
                  <a:pt x="368" y="356"/>
                </a:cubicBezTo>
                <a:cubicBezTo>
                  <a:pt x="93" y="356"/>
                  <a:pt x="93" y="356"/>
                  <a:pt x="93" y="356"/>
                </a:cubicBezTo>
                <a:cubicBezTo>
                  <a:pt x="22" y="356"/>
                  <a:pt x="0" y="339"/>
                  <a:pt x="0" y="272"/>
                </a:cubicBezTo>
                <a:cubicBezTo>
                  <a:pt x="0" y="84"/>
                  <a:pt x="0" y="84"/>
                  <a:pt x="0" y="84"/>
                </a:cubicBezTo>
                <a:cubicBezTo>
                  <a:pt x="0" y="16"/>
                  <a:pt x="23" y="0"/>
                  <a:pt x="93" y="0"/>
                </a:cubicBezTo>
                <a:cubicBezTo>
                  <a:pt x="368" y="0"/>
                  <a:pt x="368" y="0"/>
                  <a:pt x="368" y="0"/>
                </a:cubicBezTo>
                <a:cubicBezTo>
                  <a:pt x="438" y="0"/>
                  <a:pt x="461" y="16"/>
                  <a:pt x="461" y="84"/>
                </a:cubicBezTo>
                <a:close/>
                <a:moveTo>
                  <a:pt x="374" y="66"/>
                </a:moveTo>
                <a:cubicBezTo>
                  <a:pt x="87" y="66"/>
                  <a:pt x="87" y="66"/>
                  <a:pt x="87" y="66"/>
                </a:cubicBezTo>
                <a:cubicBezTo>
                  <a:pt x="87" y="288"/>
                  <a:pt x="87" y="288"/>
                  <a:pt x="87" y="288"/>
                </a:cubicBezTo>
                <a:cubicBezTo>
                  <a:pt x="374" y="288"/>
                  <a:pt x="374" y="288"/>
                  <a:pt x="374" y="288"/>
                </a:cubicBezTo>
                <a:lnTo>
                  <a:pt x="374" y="66"/>
                </a:lnTo>
                <a:close/>
                <a:moveTo>
                  <a:pt x="1015" y="69"/>
                </a:moveTo>
                <a:cubicBezTo>
                  <a:pt x="1015" y="148"/>
                  <a:pt x="1015" y="148"/>
                  <a:pt x="1015" y="148"/>
                </a:cubicBezTo>
                <a:cubicBezTo>
                  <a:pt x="1015" y="198"/>
                  <a:pt x="989" y="217"/>
                  <a:pt x="932" y="217"/>
                </a:cubicBezTo>
                <a:cubicBezTo>
                  <a:pt x="697" y="217"/>
                  <a:pt x="697" y="217"/>
                  <a:pt x="697" y="217"/>
                </a:cubicBezTo>
                <a:cubicBezTo>
                  <a:pt x="697" y="356"/>
                  <a:pt x="697" y="356"/>
                  <a:pt x="697" y="356"/>
                </a:cubicBezTo>
                <a:cubicBezTo>
                  <a:pt x="611" y="356"/>
                  <a:pt x="611" y="356"/>
                  <a:pt x="611" y="356"/>
                </a:cubicBezTo>
                <a:cubicBezTo>
                  <a:pt x="611" y="0"/>
                  <a:pt x="611" y="0"/>
                  <a:pt x="611" y="0"/>
                </a:cubicBezTo>
                <a:cubicBezTo>
                  <a:pt x="932" y="0"/>
                  <a:pt x="932" y="0"/>
                  <a:pt x="932" y="0"/>
                </a:cubicBezTo>
                <a:cubicBezTo>
                  <a:pt x="989" y="0"/>
                  <a:pt x="1015" y="19"/>
                  <a:pt x="1015" y="69"/>
                </a:cubicBezTo>
                <a:close/>
                <a:moveTo>
                  <a:pt x="934" y="90"/>
                </a:moveTo>
                <a:cubicBezTo>
                  <a:pt x="934" y="67"/>
                  <a:pt x="921" y="61"/>
                  <a:pt x="895" y="61"/>
                </a:cubicBezTo>
                <a:cubicBezTo>
                  <a:pt x="697" y="61"/>
                  <a:pt x="697" y="61"/>
                  <a:pt x="697" y="61"/>
                </a:cubicBezTo>
                <a:cubicBezTo>
                  <a:pt x="697" y="156"/>
                  <a:pt x="697" y="156"/>
                  <a:pt x="697" y="156"/>
                </a:cubicBezTo>
                <a:cubicBezTo>
                  <a:pt x="895" y="156"/>
                  <a:pt x="895" y="156"/>
                  <a:pt x="895" y="156"/>
                </a:cubicBezTo>
                <a:cubicBezTo>
                  <a:pt x="921" y="156"/>
                  <a:pt x="934" y="151"/>
                  <a:pt x="934" y="127"/>
                </a:cubicBezTo>
                <a:lnTo>
                  <a:pt x="934" y="90"/>
                </a:lnTo>
                <a:close/>
                <a:moveTo>
                  <a:pt x="8648" y="356"/>
                </a:moveTo>
                <a:cubicBezTo>
                  <a:pt x="8735" y="356"/>
                  <a:pt x="8735" y="356"/>
                  <a:pt x="8735" y="356"/>
                </a:cubicBezTo>
                <a:cubicBezTo>
                  <a:pt x="8735" y="0"/>
                  <a:pt x="8735" y="0"/>
                  <a:pt x="8735" y="0"/>
                </a:cubicBezTo>
                <a:cubicBezTo>
                  <a:pt x="8648" y="0"/>
                  <a:pt x="8648" y="0"/>
                  <a:pt x="8648" y="0"/>
                </a:cubicBezTo>
                <a:lnTo>
                  <a:pt x="8648" y="356"/>
                </a:lnTo>
                <a:close/>
                <a:moveTo>
                  <a:pt x="6051" y="237"/>
                </a:moveTo>
                <a:cubicBezTo>
                  <a:pt x="5749" y="0"/>
                  <a:pt x="5749" y="0"/>
                  <a:pt x="5749" y="0"/>
                </a:cubicBezTo>
                <a:cubicBezTo>
                  <a:pt x="5689" y="0"/>
                  <a:pt x="5689" y="0"/>
                  <a:pt x="5689" y="0"/>
                </a:cubicBezTo>
                <a:cubicBezTo>
                  <a:pt x="5689" y="356"/>
                  <a:pt x="5689" y="356"/>
                  <a:pt x="5689" y="356"/>
                </a:cubicBezTo>
                <a:cubicBezTo>
                  <a:pt x="5768" y="356"/>
                  <a:pt x="5768" y="356"/>
                  <a:pt x="5768" y="356"/>
                </a:cubicBezTo>
                <a:cubicBezTo>
                  <a:pt x="5768" y="116"/>
                  <a:pt x="5768" y="116"/>
                  <a:pt x="5768" y="116"/>
                </a:cubicBezTo>
                <a:cubicBezTo>
                  <a:pt x="6070" y="356"/>
                  <a:pt x="6070" y="356"/>
                  <a:pt x="6070" y="356"/>
                </a:cubicBezTo>
                <a:cubicBezTo>
                  <a:pt x="6129" y="356"/>
                  <a:pt x="6129" y="356"/>
                  <a:pt x="6129" y="356"/>
                </a:cubicBezTo>
                <a:cubicBezTo>
                  <a:pt x="6129" y="0"/>
                  <a:pt x="6129" y="0"/>
                  <a:pt x="6129" y="0"/>
                </a:cubicBezTo>
                <a:cubicBezTo>
                  <a:pt x="6051" y="0"/>
                  <a:pt x="6051" y="0"/>
                  <a:pt x="6051" y="0"/>
                </a:cubicBezTo>
                <a:lnTo>
                  <a:pt x="6051" y="237"/>
                </a:lnTo>
                <a:close/>
                <a:moveTo>
                  <a:pt x="5444" y="0"/>
                </a:moveTo>
                <a:cubicBezTo>
                  <a:pt x="5444" y="178"/>
                  <a:pt x="5444" y="178"/>
                  <a:pt x="5444" y="178"/>
                </a:cubicBezTo>
                <a:cubicBezTo>
                  <a:pt x="5444" y="356"/>
                  <a:pt x="5444" y="356"/>
                  <a:pt x="5444" y="356"/>
                </a:cubicBezTo>
                <a:cubicBezTo>
                  <a:pt x="5487" y="356"/>
                  <a:pt x="5487" y="356"/>
                  <a:pt x="5487" y="356"/>
                </a:cubicBezTo>
                <a:cubicBezTo>
                  <a:pt x="5531" y="356"/>
                  <a:pt x="5531" y="356"/>
                  <a:pt x="5531" y="356"/>
                </a:cubicBezTo>
                <a:cubicBezTo>
                  <a:pt x="5531" y="178"/>
                  <a:pt x="5531" y="178"/>
                  <a:pt x="5531" y="178"/>
                </a:cubicBezTo>
                <a:cubicBezTo>
                  <a:pt x="5531" y="0"/>
                  <a:pt x="5531" y="0"/>
                  <a:pt x="5531" y="0"/>
                </a:cubicBezTo>
                <a:cubicBezTo>
                  <a:pt x="5531" y="0"/>
                  <a:pt x="5531" y="0"/>
                  <a:pt x="5531" y="0"/>
                </a:cubicBezTo>
                <a:cubicBezTo>
                  <a:pt x="5444" y="0"/>
                  <a:pt x="5444" y="0"/>
                  <a:pt x="5444" y="0"/>
                </a:cubicBezTo>
                <a:close/>
                <a:moveTo>
                  <a:pt x="6288" y="356"/>
                </a:moveTo>
                <a:cubicBezTo>
                  <a:pt x="6375" y="356"/>
                  <a:pt x="6375" y="356"/>
                  <a:pt x="6375" y="356"/>
                </a:cubicBezTo>
                <a:cubicBezTo>
                  <a:pt x="6375" y="0"/>
                  <a:pt x="6375" y="0"/>
                  <a:pt x="6375" y="0"/>
                </a:cubicBezTo>
                <a:cubicBezTo>
                  <a:pt x="6288" y="0"/>
                  <a:pt x="6288" y="0"/>
                  <a:pt x="6288" y="0"/>
                </a:cubicBezTo>
                <a:lnTo>
                  <a:pt x="6288" y="356"/>
                </a:lnTo>
                <a:close/>
                <a:moveTo>
                  <a:pt x="5042" y="211"/>
                </a:moveTo>
                <a:cubicBezTo>
                  <a:pt x="4868" y="0"/>
                  <a:pt x="4868" y="0"/>
                  <a:pt x="4868" y="0"/>
                </a:cubicBezTo>
                <a:cubicBezTo>
                  <a:pt x="4798" y="0"/>
                  <a:pt x="4798" y="0"/>
                  <a:pt x="4798" y="0"/>
                </a:cubicBezTo>
                <a:cubicBezTo>
                  <a:pt x="4798" y="356"/>
                  <a:pt x="4798" y="356"/>
                  <a:pt x="4798" y="356"/>
                </a:cubicBezTo>
                <a:cubicBezTo>
                  <a:pt x="4868" y="356"/>
                  <a:pt x="4868" y="356"/>
                  <a:pt x="4868" y="356"/>
                </a:cubicBezTo>
                <a:cubicBezTo>
                  <a:pt x="4868" y="117"/>
                  <a:pt x="4868" y="117"/>
                  <a:pt x="4868" y="117"/>
                </a:cubicBezTo>
                <a:cubicBezTo>
                  <a:pt x="5029" y="313"/>
                  <a:pt x="5029" y="313"/>
                  <a:pt x="5029" y="313"/>
                </a:cubicBezTo>
                <a:cubicBezTo>
                  <a:pt x="5046" y="313"/>
                  <a:pt x="5046" y="313"/>
                  <a:pt x="5046" y="313"/>
                </a:cubicBezTo>
                <a:cubicBezTo>
                  <a:pt x="5205" y="111"/>
                  <a:pt x="5205" y="111"/>
                  <a:pt x="5205" y="111"/>
                </a:cubicBezTo>
                <a:cubicBezTo>
                  <a:pt x="5205" y="356"/>
                  <a:pt x="5205" y="356"/>
                  <a:pt x="5205" y="356"/>
                </a:cubicBezTo>
                <a:cubicBezTo>
                  <a:pt x="5286" y="356"/>
                  <a:pt x="5286" y="356"/>
                  <a:pt x="5286" y="356"/>
                </a:cubicBezTo>
                <a:cubicBezTo>
                  <a:pt x="5286" y="0"/>
                  <a:pt x="5286" y="0"/>
                  <a:pt x="5286" y="0"/>
                </a:cubicBezTo>
                <a:cubicBezTo>
                  <a:pt x="5216" y="0"/>
                  <a:pt x="5216" y="0"/>
                  <a:pt x="5216" y="0"/>
                </a:cubicBezTo>
                <a:lnTo>
                  <a:pt x="5042" y="211"/>
                </a:lnTo>
                <a:close/>
                <a:moveTo>
                  <a:pt x="3589" y="0"/>
                </a:moveTo>
                <a:cubicBezTo>
                  <a:pt x="3804" y="356"/>
                  <a:pt x="3804" y="356"/>
                  <a:pt x="3804" y="356"/>
                </a:cubicBezTo>
                <a:cubicBezTo>
                  <a:pt x="3706" y="356"/>
                  <a:pt x="3706" y="356"/>
                  <a:pt x="3706" y="356"/>
                </a:cubicBezTo>
                <a:cubicBezTo>
                  <a:pt x="3662" y="278"/>
                  <a:pt x="3662" y="278"/>
                  <a:pt x="3662" y="278"/>
                </a:cubicBezTo>
                <a:cubicBezTo>
                  <a:pt x="3426" y="278"/>
                  <a:pt x="3426" y="278"/>
                  <a:pt x="3426" y="278"/>
                </a:cubicBezTo>
                <a:cubicBezTo>
                  <a:pt x="3381" y="356"/>
                  <a:pt x="3381" y="356"/>
                  <a:pt x="3381" y="356"/>
                </a:cubicBezTo>
                <a:cubicBezTo>
                  <a:pt x="3294" y="356"/>
                  <a:pt x="3294" y="356"/>
                  <a:pt x="3294" y="356"/>
                </a:cubicBezTo>
                <a:cubicBezTo>
                  <a:pt x="3506" y="0"/>
                  <a:pt x="3506" y="0"/>
                  <a:pt x="3506" y="0"/>
                </a:cubicBezTo>
                <a:lnTo>
                  <a:pt x="3589" y="0"/>
                </a:lnTo>
                <a:close/>
                <a:moveTo>
                  <a:pt x="3626" y="213"/>
                </a:moveTo>
                <a:cubicBezTo>
                  <a:pt x="3543" y="65"/>
                  <a:pt x="3543" y="65"/>
                  <a:pt x="3543" y="65"/>
                </a:cubicBezTo>
                <a:cubicBezTo>
                  <a:pt x="3463" y="213"/>
                  <a:pt x="3463" y="213"/>
                  <a:pt x="3463" y="213"/>
                </a:cubicBezTo>
                <a:lnTo>
                  <a:pt x="3626" y="213"/>
                </a:lnTo>
                <a:close/>
                <a:moveTo>
                  <a:pt x="7676" y="202"/>
                </a:moveTo>
                <a:cubicBezTo>
                  <a:pt x="7848" y="202"/>
                  <a:pt x="7848" y="202"/>
                  <a:pt x="7848" y="202"/>
                </a:cubicBezTo>
                <a:cubicBezTo>
                  <a:pt x="7848" y="141"/>
                  <a:pt x="7848" y="141"/>
                  <a:pt x="7848" y="141"/>
                </a:cubicBezTo>
                <a:cubicBezTo>
                  <a:pt x="7676" y="141"/>
                  <a:pt x="7676" y="141"/>
                  <a:pt x="7676" y="141"/>
                </a:cubicBezTo>
                <a:cubicBezTo>
                  <a:pt x="7676" y="63"/>
                  <a:pt x="7676" y="63"/>
                  <a:pt x="7676" y="63"/>
                </a:cubicBezTo>
                <a:cubicBezTo>
                  <a:pt x="7971" y="63"/>
                  <a:pt x="7971" y="63"/>
                  <a:pt x="7971" y="63"/>
                </a:cubicBezTo>
                <a:cubicBezTo>
                  <a:pt x="7971" y="0"/>
                  <a:pt x="7971" y="0"/>
                  <a:pt x="7971" y="0"/>
                </a:cubicBezTo>
                <a:cubicBezTo>
                  <a:pt x="7589" y="0"/>
                  <a:pt x="7589" y="0"/>
                  <a:pt x="7589" y="0"/>
                </a:cubicBezTo>
                <a:cubicBezTo>
                  <a:pt x="7589" y="356"/>
                  <a:pt x="7589" y="356"/>
                  <a:pt x="7589" y="356"/>
                </a:cubicBezTo>
                <a:cubicBezTo>
                  <a:pt x="7975" y="356"/>
                  <a:pt x="7975" y="356"/>
                  <a:pt x="7975" y="356"/>
                </a:cubicBezTo>
                <a:cubicBezTo>
                  <a:pt x="7975" y="290"/>
                  <a:pt x="7975" y="290"/>
                  <a:pt x="7975" y="290"/>
                </a:cubicBezTo>
                <a:cubicBezTo>
                  <a:pt x="7676" y="290"/>
                  <a:pt x="7676" y="290"/>
                  <a:pt x="7676" y="290"/>
                </a:cubicBezTo>
                <a:lnTo>
                  <a:pt x="7676" y="202"/>
                </a:lnTo>
                <a:close/>
                <a:moveTo>
                  <a:pt x="4164" y="221"/>
                </a:moveTo>
                <a:cubicBezTo>
                  <a:pt x="4334" y="356"/>
                  <a:pt x="4334" y="356"/>
                  <a:pt x="4334" y="356"/>
                </a:cubicBezTo>
                <a:cubicBezTo>
                  <a:pt x="4209" y="356"/>
                  <a:pt x="4209" y="356"/>
                  <a:pt x="4209" y="356"/>
                </a:cubicBezTo>
                <a:cubicBezTo>
                  <a:pt x="4060" y="221"/>
                  <a:pt x="4060" y="221"/>
                  <a:pt x="4060" y="221"/>
                </a:cubicBezTo>
                <a:cubicBezTo>
                  <a:pt x="3978" y="221"/>
                  <a:pt x="3978" y="221"/>
                  <a:pt x="3978" y="221"/>
                </a:cubicBezTo>
                <a:cubicBezTo>
                  <a:pt x="3978" y="356"/>
                  <a:pt x="3978" y="356"/>
                  <a:pt x="3978" y="356"/>
                </a:cubicBezTo>
                <a:cubicBezTo>
                  <a:pt x="3892" y="356"/>
                  <a:pt x="3892" y="356"/>
                  <a:pt x="3892" y="356"/>
                </a:cubicBezTo>
                <a:cubicBezTo>
                  <a:pt x="3892" y="0"/>
                  <a:pt x="3892" y="0"/>
                  <a:pt x="3892" y="0"/>
                </a:cubicBezTo>
                <a:cubicBezTo>
                  <a:pt x="4213" y="0"/>
                  <a:pt x="4213" y="0"/>
                  <a:pt x="4213" y="0"/>
                </a:cubicBezTo>
                <a:cubicBezTo>
                  <a:pt x="4270" y="0"/>
                  <a:pt x="4296" y="19"/>
                  <a:pt x="4296" y="69"/>
                </a:cubicBezTo>
                <a:cubicBezTo>
                  <a:pt x="4296" y="153"/>
                  <a:pt x="4296" y="153"/>
                  <a:pt x="4296" y="153"/>
                </a:cubicBezTo>
                <a:cubicBezTo>
                  <a:pt x="4296" y="202"/>
                  <a:pt x="4270" y="221"/>
                  <a:pt x="4213" y="221"/>
                </a:cubicBezTo>
                <a:lnTo>
                  <a:pt x="4164" y="221"/>
                </a:lnTo>
                <a:close/>
                <a:moveTo>
                  <a:pt x="4176" y="160"/>
                </a:moveTo>
                <a:cubicBezTo>
                  <a:pt x="4202" y="160"/>
                  <a:pt x="4216" y="155"/>
                  <a:pt x="4216" y="131"/>
                </a:cubicBezTo>
                <a:cubicBezTo>
                  <a:pt x="4216" y="90"/>
                  <a:pt x="4216" y="90"/>
                  <a:pt x="4216" y="90"/>
                </a:cubicBezTo>
                <a:cubicBezTo>
                  <a:pt x="4216" y="67"/>
                  <a:pt x="4202" y="61"/>
                  <a:pt x="4176" y="61"/>
                </a:cubicBezTo>
                <a:cubicBezTo>
                  <a:pt x="3978" y="61"/>
                  <a:pt x="3978" y="61"/>
                  <a:pt x="3978" y="61"/>
                </a:cubicBezTo>
                <a:cubicBezTo>
                  <a:pt x="3978" y="160"/>
                  <a:pt x="3978" y="160"/>
                  <a:pt x="3978" y="160"/>
                </a:cubicBezTo>
                <a:lnTo>
                  <a:pt x="4176" y="160"/>
                </a:lnTo>
                <a:close/>
                <a:moveTo>
                  <a:pt x="3015" y="0"/>
                </a:moveTo>
                <a:cubicBezTo>
                  <a:pt x="3230" y="356"/>
                  <a:pt x="3230" y="356"/>
                  <a:pt x="3230" y="356"/>
                </a:cubicBezTo>
                <a:cubicBezTo>
                  <a:pt x="3132" y="356"/>
                  <a:pt x="3132" y="356"/>
                  <a:pt x="3132" y="356"/>
                </a:cubicBezTo>
                <a:cubicBezTo>
                  <a:pt x="3088" y="278"/>
                  <a:pt x="3088" y="278"/>
                  <a:pt x="3088" y="278"/>
                </a:cubicBezTo>
                <a:cubicBezTo>
                  <a:pt x="2852" y="278"/>
                  <a:pt x="2852" y="278"/>
                  <a:pt x="2852" y="278"/>
                </a:cubicBezTo>
                <a:cubicBezTo>
                  <a:pt x="2807" y="356"/>
                  <a:pt x="2807" y="356"/>
                  <a:pt x="2807" y="356"/>
                </a:cubicBezTo>
                <a:cubicBezTo>
                  <a:pt x="2721" y="356"/>
                  <a:pt x="2721" y="356"/>
                  <a:pt x="2721" y="356"/>
                </a:cubicBezTo>
                <a:cubicBezTo>
                  <a:pt x="2932" y="0"/>
                  <a:pt x="2932" y="0"/>
                  <a:pt x="2932" y="0"/>
                </a:cubicBezTo>
                <a:lnTo>
                  <a:pt x="3015" y="0"/>
                </a:lnTo>
                <a:close/>
                <a:moveTo>
                  <a:pt x="3052" y="213"/>
                </a:moveTo>
                <a:cubicBezTo>
                  <a:pt x="2969" y="65"/>
                  <a:pt x="2969" y="65"/>
                  <a:pt x="2969" y="65"/>
                </a:cubicBezTo>
                <a:cubicBezTo>
                  <a:pt x="2889" y="213"/>
                  <a:pt x="2889" y="213"/>
                  <a:pt x="2889" y="213"/>
                </a:cubicBezTo>
                <a:lnTo>
                  <a:pt x="3052" y="213"/>
                </a:lnTo>
                <a:close/>
                <a:moveTo>
                  <a:pt x="7046" y="64"/>
                </a:moveTo>
                <a:cubicBezTo>
                  <a:pt x="7217" y="64"/>
                  <a:pt x="7217" y="64"/>
                  <a:pt x="7217" y="64"/>
                </a:cubicBezTo>
                <a:cubicBezTo>
                  <a:pt x="7217" y="356"/>
                  <a:pt x="7217" y="356"/>
                  <a:pt x="7217" y="356"/>
                </a:cubicBezTo>
                <a:cubicBezTo>
                  <a:pt x="7304" y="356"/>
                  <a:pt x="7304" y="356"/>
                  <a:pt x="7304" y="356"/>
                </a:cubicBezTo>
                <a:cubicBezTo>
                  <a:pt x="7304" y="64"/>
                  <a:pt x="7304" y="64"/>
                  <a:pt x="7304" y="64"/>
                </a:cubicBezTo>
                <a:cubicBezTo>
                  <a:pt x="7477" y="64"/>
                  <a:pt x="7477" y="64"/>
                  <a:pt x="7477" y="64"/>
                </a:cubicBezTo>
                <a:cubicBezTo>
                  <a:pt x="7477" y="0"/>
                  <a:pt x="7477" y="0"/>
                  <a:pt x="7477" y="0"/>
                </a:cubicBezTo>
                <a:cubicBezTo>
                  <a:pt x="7046" y="0"/>
                  <a:pt x="7046" y="0"/>
                  <a:pt x="7046" y="0"/>
                </a:cubicBezTo>
                <a:lnTo>
                  <a:pt x="704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1" name="Rectangle 8"/>
          <p:cNvSpPr>
            <a:spLocks noSelect="1" noChangeArrowheads="1"/>
          </p:cNvSpPr>
          <p:nvPr userDrawn="1"/>
        </p:nvSpPr>
        <p:spPr bwMode="gray">
          <a:xfrm>
            <a:off x="0" y="3429000"/>
            <a:ext cx="12189600" cy="3429000"/>
          </a:xfrm>
          <a:prstGeom prst="rect">
            <a:avLst/>
          </a:prstGeom>
          <a:solidFill>
            <a:schemeClr val="accent4"/>
          </a:solidFill>
          <a:ln>
            <a:noFill/>
          </a:ln>
          <a:effectLst/>
        </p:spPr>
        <p:txBody>
          <a:bodyPr wrap="none" anchor="ctr"/>
          <a:lstStyle/>
          <a:p>
            <a:pPr eaLnBrk="1" hangingPunct="1">
              <a:defRPr/>
            </a:pPr>
            <a:endParaRPr lang="nl-NL" sz="2142" dirty="0">
              <a:latin typeface="Arial Black" charset="0"/>
            </a:endParaRPr>
          </a:p>
        </p:txBody>
      </p:sp>
      <p:sp>
        <p:nvSpPr>
          <p:cNvPr id="2" name="***Titel 1"/>
          <p:cNvSpPr>
            <a:spLocks noGrp="1" noSelect="1"/>
          </p:cNvSpPr>
          <p:nvPr>
            <p:ph type="ctrTitle" hasCustomPrompt="1"/>
          </p:nvPr>
        </p:nvSpPr>
        <p:spPr bwMode="gray">
          <a:xfrm>
            <a:off x="1077861" y="3913999"/>
            <a:ext cx="10040516" cy="685952"/>
          </a:xfrm>
        </p:spPr>
        <p:txBody>
          <a:bodyPr anchor="t" anchorCtr="0"/>
          <a:lstStyle>
            <a:lvl1pPr algn="l">
              <a:defRPr sz="3600">
                <a:solidFill>
                  <a:srgbClr val="FFFFFF"/>
                </a:solidFill>
              </a:defRPr>
            </a:lvl1pPr>
          </a:lstStyle>
          <a:p>
            <a:r>
              <a:rPr lang="nl-NL" noProof="1"/>
              <a:t>[Titel]</a:t>
            </a:r>
          </a:p>
        </p:txBody>
      </p:sp>
      <p:sp>
        <p:nvSpPr>
          <p:cNvPr id="3" name="Ondertitel 2"/>
          <p:cNvSpPr>
            <a:spLocks noGrp="1" noSelect="1"/>
          </p:cNvSpPr>
          <p:nvPr>
            <p:ph type="subTitle" idx="1" hasCustomPrompt="1"/>
          </p:nvPr>
        </p:nvSpPr>
        <p:spPr bwMode="gray">
          <a:xfrm>
            <a:off x="1089134" y="4863460"/>
            <a:ext cx="10029243" cy="546598"/>
          </a:xfrm>
        </p:spPr>
        <p:txBody>
          <a:bodyPr/>
          <a:lstStyle>
            <a:lvl1pPr marL="0" indent="0" algn="l">
              <a:buNone/>
              <a:defRPr>
                <a:solidFill>
                  <a:srgbClr val="FFFFFF"/>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nl-NL" noProof="1"/>
              <a:t>[Subtitel]</a:t>
            </a:r>
          </a:p>
        </p:txBody>
      </p:sp>
      <p:sp>
        <p:nvSpPr>
          <p:cNvPr id="4" name="Tijdelijke aanduiding voor datum 3"/>
          <p:cNvSpPr>
            <a:spLocks noGrp="1" noSelect="1"/>
          </p:cNvSpPr>
          <p:nvPr>
            <p:ph type="dt" sz="half" idx="10"/>
          </p:nvPr>
        </p:nvSpPr>
        <p:spPr bwMode="gray"/>
        <p:txBody>
          <a:bodyPr/>
          <a:lstStyle/>
          <a:p>
            <a:fld id="{7C806373-EEC1-40A6-88B0-0378453CBB9D}" type="datetime4">
              <a:rPr lang="nl-NL" noProof="1" smtClean="0"/>
              <a:t>22 september 2022</a:t>
            </a:fld>
            <a:endParaRPr lang="nl-NL" noProof="1"/>
          </a:p>
        </p:txBody>
      </p:sp>
      <p:sp>
        <p:nvSpPr>
          <p:cNvPr id="5" name="Tijdelijke aanduiding voor voettekst 4"/>
          <p:cNvSpPr>
            <a:spLocks noGrp="1" noSelect="1"/>
          </p:cNvSpPr>
          <p:nvPr>
            <p:ph type="ftr" sz="quarter" idx="11"/>
          </p:nvPr>
        </p:nvSpPr>
        <p:spPr>
          <a:xfrm>
            <a:off x="1080000" y="2217600"/>
            <a:ext cx="10116000" cy="307765"/>
          </a:xfrm>
        </p:spPr>
        <p:txBody>
          <a:bodyPr/>
          <a:lstStyle/>
          <a:p>
            <a:r>
              <a:rPr lang="nl-NL" noProof="1"/>
              <a:t>[Plaats hier de aanduiding van het OM onderdeel]</a:t>
            </a:r>
          </a:p>
        </p:txBody>
      </p:sp>
      <p:sp>
        <p:nvSpPr>
          <p:cNvPr id="12" name="Rechthoek 11"/>
          <p:cNvSpPr>
            <a:spLocks noSelect="1"/>
          </p:cNvSpPr>
          <p:nvPr userDrawn="1"/>
        </p:nvSpPr>
        <p:spPr>
          <a:xfrm>
            <a:off x="-1285778" y="189362"/>
            <a:ext cx="1170156" cy="2520336"/>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nl-NL" sz="1000" dirty="0">
                <a:solidFill>
                  <a:schemeClr val="tx1"/>
                </a:solidFill>
              </a:rPr>
              <a:t>Via Invoegen | Koptekst en voettekst kan de datum, paginanummer en aanduiding</a:t>
            </a:r>
            <a:r>
              <a:rPr lang="nl-NL" sz="1000" baseline="0" dirty="0">
                <a:solidFill>
                  <a:schemeClr val="tx1"/>
                </a:solidFill>
              </a:rPr>
              <a:t> van het OM onderdeel geplaatst worden.</a:t>
            </a:r>
          </a:p>
          <a:p>
            <a:pPr algn="l"/>
            <a:endParaRPr lang="nl-NL" sz="1000" baseline="0" dirty="0">
              <a:solidFill>
                <a:schemeClr val="tx1"/>
              </a:solidFill>
            </a:endParaRPr>
          </a:p>
          <a:p>
            <a:pPr algn="l"/>
            <a:r>
              <a:rPr lang="nl-NL" sz="1000" baseline="0" dirty="0">
                <a:solidFill>
                  <a:schemeClr val="tx1"/>
                </a:solidFill>
              </a:rPr>
              <a:t>Dit instructie vak is niet te zien tijdens de presentatie.</a:t>
            </a:r>
            <a:endParaRPr lang="nl-NL" sz="1000" dirty="0">
              <a:solidFill>
                <a:schemeClr val="tx1"/>
              </a:solidFill>
            </a:endParaRPr>
          </a:p>
        </p:txBody>
      </p:sp>
      <p:sp>
        <p:nvSpPr>
          <p:cNvPr id="13" name="***Spreker"/>
          <p:cNvSpPr>
            <a:spLocks noGrp="1" noSelect="1"/>
          </p:cNvSpPr>
          <p:nvPr>
            <p:ph type="body" sz="quarter" idx="12" hasCustomPrompt="1"/>
          </p:nvPr>
        </p:nvSpPr>
        <p:spPr>
          <a:xfrm>
            <a:off x="1080000" y="720000"/>
            <a:ext cx="10080000" cy="457200"/>
          </a:xfrm>
        </p:spPr>
        <p:txBody>
          <a:bodyPr/>
          <a:lstStyle>
            <a:lvl1pPr marL="0" indent="0">
              <a:spcBef>
                <a:spcPts val="0"/>
              </a:spcBef>
              <a:spcAft>
                <a:spcPts val="0"/>
              </a:spcAft>
              <a:buNone/>
              <a:defRPr b="1" i="0"/>
            </a:lvl1pPr>
            <a:lvl2pPr marL="0" indent="0">
              <a:spcBef>
                <a:spcPts val="0"/>
              </a:spcBef>
              <a:spcAft>
                <a:spcPts val="0"/>
              </a:spcAft>
              <a:buNone/>
              <a:defRPr b="1" i="0"/>
            </a:lvl2pPr>
            <a:lvl3pPr marL="0" indent="0">
              <a:spcBef>
                <a:spcPts val="0"/>
              </a:spcBef>
              <a:spcAft>
                <a:spcPts val="0"/>
              </a:spcAft>
              <a:buNone/>
              <a:defRPr b="1" i="0"/>
            </a:lvl3pPr>
            <a:lvl4pPr marL="0" indent="0">
              <a:spcBef>
                <a:spcPts val="0"/>
              </a:spcBef>
              <a:spcAft>
                <a:spcPts val="0"/>
              </a:spcAft>
              <a:buFont typeface="Arial" panose="020B0604020202020204" pitchFamily="34" charset="0"/>
              <a:buNone/>
              <a:defRPr b="1" i="0"/>
            </a:lvl4pPr>
            <a:lvl5pPr marL="0" indent="0">
              <a:spcBef>
                <a:spcPts val="0"/>
              </a:spcBef>
              <a:spcAft>
                <a:spcPts val="0"/>
              </a:spcAft>
              <a:buFont typeface="Arial" panose="020B0604020202020204" pitchFamily="34" charset="0"/>
              <a:buNone/>
              <a:defRPr b="1" i="0"/>
            </a:lvl5pPr>
            <a:lvl6pPr marL="0" indent="0">
              <a:spcBef>
                <a:spcPts val="0"/>
              </a:spcBef>
              <a:spcAft>
                <a:spcPts val="0"/>
              </a:spcAft>
              <a:buFont typeface="Arial" panose="020B0604020202020204" pitchFamily="34" charset="0"/>
              <a:buNone/>
              <a:defRPr b="1" i="0"/>
            </a:lvl6pPr>
            <a:lvl7pPr marL="0" indent="0">
              <a:spcBef>
                <a:spcPts val="0"/>
              </a:spcBef>
              <a:spcAft>
                <a:spcPts val="0"/>
              </a:spcAft>
              <a:buFont typeface="Arial" panose="020B0604020202020204" pitchFamily="34" charset="0"/>
              <a:buNone/>
              <a:defRPr b="1" i="0"/>
            </a:lvl7pPr>
            <a:lvl8pPr marL="0" indent="0">
              <a:spcBef>
                <a:spcPts val="0"/>
              </a:spcBef>
              <a:spcAft>
                <a:spcPts val="0"/>
              </a:spcAft>
              <a:buFont typeface="Arial" panose="020B0604020202020204" pitchFamily="34" charset="0"/>
              <a:buNone/>
              <a:defRPr b="1" i="0"/>
            </a:lvl8pPr>
            <a:lvl9pPr marL="0" indent="0">
              <a:spcBef>
                <a:spcPts val="0"/>
              </a:spcBef>
              <a:spcAft>
                <a:spcPts val="0"/>
              </a:spcAft>
              <a:buFont typeface="Arial" panose="020B0604020202020204" pitchFamily="34" charset="0"/>
              <a:buNone/>
              <a:defRPr b="1" i="0"/>
            </a:lvl9pPr>
          </a:lstStyle>
          <a:p>
            <a:pPr lvl="0"/>
            <a:r>
              <a:rPr lang="nl-NL" dirty="0"/>
              <a:t>[Naam spreker]</a:t>
            </a:r>
          </a:p>
          <a:p>
            <a:pPr lvl="0"/>
            <a:endParaRPr lang="nl-NL" dirty="0"/>
          </a:p>
        </p:txBody>
      </p:sp>
    </p:spTree>
    <p:extLst>
      <p:ext uri="{BB962C8B-B14F-4D97-AF65-F5344CB8AC3E}">
        <p14:creationId xmlns:p14="http://schemas.microsoft.com/office/powerpoint/2010/main" val="12265622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en 2 kaders">
    <p:spTree>
      <p:nvGrpSpPr>
        <p:cNvPr id="1" name=""/>
        <p:cNvGrpSpPr/>
        <p:nvPr/>
      </p:nvGrpSpPr>
      <p:grpSpPr>
        <a:xfrm>
          <a:off x="0" y="0"/>
          <a:ext cx="0" cy="0"/>
          <a:chOff x="0" y="0"/>
          <a:chExt cx="0" cy="0"/>
        </a:xfrm>
      </p:grpSpPr>
      <p:sp>
        <p:nvSpPr>
          <p:cNvPr id="9" name="Tijdelijke aanduiding voor inhoud 8"/>
          <p:cNvSpPr>
            <a:spLocks noGrp="1" noSelect="1"/>
          </p:cNvSpPr>
          <p:nvPr>
            <p:ph sz="quarter" idx="13" hasCustomPrompt="1"/>
          </p:nvPr>
        </p:nvSpPr>
        <p:spPr bwMode="gray">
          <a:xfrm>
            <a:off x="1080000" y="1893600"/>
            <a:ext cx="4842000" cy="3888000"/>
          </a:xfrm>
        </p:spPr>
        <p:txBody>
          <a:bodyPr/>
          <a:lstStyle>
            <a:lvl1pPr>
              <a:defRPr/>
            </a:lvl1pPr>
          </a:lstStyle>
          <a:p>
            <a:pPr lvl="0"/>
            <a:r>
              <a:rPr lang="nl-NL" noProof="1"/>
              <a:t>[Typ tekst of klik op een pictogram om een object in te voegen]</a:t>
            </a:r>
          </a:p>
        </p:txBody>
      </p:sp>
      <p:sp>
        <p:nvSpPr>
          <p:cNvPr id="8" name="Titel 7"/>
          <p:cNvSpPr>
            <a:spLocks noGrp="1" noSelect="1"/>
          </p:cNvSpPr>
          <p:nvPr>
            <p:ph type="title" hasCustomPrompt="1"/>
          </p:nvPr>
        </p:nvSpPr>
        <p:spPr bwMode="gray">
          <a:xfrm>
            <a:off x="1081183" y="572872"/>
            <a:ext cx="10080000" cy="868556"/>
          </a:xfrm>
        </p:spPr>
        <p:txBody>
          <a:bodyPr/>
          <a:lstStyle/>
          <a:p>
            <a:r>
              <a:rPr lang="nl-NL" noProof="1"/>
              <a:t>[Titel]</a:t>
            </a:r>
            <a:endParaRPr lang="nl-NL" dirty="0"/>
          </a:p>
        </p:txBody>
      </p:sp>
      <p:sp>
        <p:nvSpPr>
          <p:cNvPr id="27" name="Tijdelijke aanduiding voor inhoud 8"/>
          <p:cNvSpPr>
            <a:spLocks noGrp="1" noSelect="1"/>
          </p:cNvSpPr>
          <p:nvPr>
            <p:ph sz="quarter" idx="18" hasCustomPrompt="1"/>
          </p:nvPr>
        </p:nvSpPr>
        <p:spPr bwMode="gray">
          <a:xfrm>
            <a:off x="6318037" y="1893600"/>
            <a:ext cx="4843146" cy="3888000"/>
          </a:xfrm>
        </p:spPr>
        <p:txBody>
          <a:bodyPr/>
          <a:lstStyle>
            <a:lvl1pPr>
              <a:defRPr/>
            </a:lvl1pPr>
          </a:lstStyle>
          <a:p>
            <a:pPr lvl="0"/>
            <a:r>
              <a:rPr lang="nl-NL" noProof="1"/>
              <a:t>[Typ tekst of klik op een pictogram om een object in te voegen]</a:t>
            </a:r>
          </a:p>
        </p:txBody>
      </p:sp>
      <p:sp>
        <p:nvSpPr>
          <p:cNvPr id="2" name="Tijdelijke aanduiding voor datum 1"/>
          <p:cNvSpPr>
            <a:spLocks noGrp="1" noSelect="1"/>
          </p:cNvSpPr>
          <p:nvPr>
            <p:ph type="dt" sz="half" idx="19"/>
          </p:nvPr>
        </p:nvSpPr>
        <p:spPr bwMode="gray"/>
        <p:txBody>
          <a:bodyPr/>
          <a:lstStyle/>
          <a:p>
            <a:fld id="{A91D497D-9F5E-4F7D-99C4-2B37BF08694F}" type="datetime4">
              <a:rPr lang="nl-NL" noProof="1" smtClean="0"/>
              <a:t>22 september 2022</a:t>
            </a:fld>
            <a:endParaRPr lang="nl-NL" noProof="1"/>
          </a:p>
        </p:txBody>
      </p:sp>
      <p:sp>
        <p:nvSpPr>
          <p:cNvPr id="3" name="Tijdelijke aanduiding voor voettekst 2"/>
          <p:cNvSpPr>
            <a:spLocks noGrp="1" noSelect="1"/>
          </p:cNvSpPr>
          <p:nvPr>
            <p:ph type="ftr" sz="quarter" idx="20"/>
          </p:nvPr>
        </p:nvSpPr>
        <p:spPr bwMode="gray"/>
        <p:txBody>
          <a:bodyPr/>
          <a:lstStyle/>
          <a:p>
            <a:r>
              <a:rPr lang="nl-NL" noProof="1"/>
              <a:t>[Plaats hier de aanduiding van het OM onderdeel]</a:t>
            </a:r>
          </a:p>
        </p:txBody>
      </p:sp>
      <p:sp>
        <p:nvSpPr>
          <p:cNvPr id="4" name="Tijdelijke aanduiding voor dianummer 3"/>
          <p:cNvSpPr>
            <a:spLocks noGrp="1" noSelect="1"/>
          </p:cNvSpPr>
          <p:nvPr>
            <p:ph type="sldNum" sz="quarter" idx="21"/>
          </p:nvPr>
        </p:nvSpPr>
        <p:spPr bwMode="gray"/>
        <p:txBody>
          <a:bodyPr/>
          <a:lstStyle/>
          <a:p>
            <a:r>
              <a:rPr lang="nl-NL" noProof="1"/>
              <a:t>pagina </a:t>
            </a:r>
            <a:fld id="{1336C48C-F87C-4E4B-81EF-5027B17D1F61}" type="slidenum">
              <a:rPr lang="nl-NL" noProof="1" smtClean="0"/>
              <a:pPr/>
              <a:t>‹nr.›</a:t>
            </a:fld>
            <a:endParaRPr lang="nl-NL" noProof="1"/>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afbeelding en bijschriften">
    <p:spTree>
      <p:nvGrpSpPr>
        <p:cNvPr id="1" name=""/>
        <p:cNvGrpSpPr/>
        <p:nvPr/>
      </p:nvGrpSpPr>
      <p:grpSpPr>
        <a:xfrm>
          <a:off x="0" y="0"/>
          <a:ext cx="0" cy="0"/>
          <a:chOff x="0" y="0"/>
          <a:chExt cx="0" cy="0"/>
        </a:xfrm>
      </p:grpSpPr>
      <p:sp>
        <p:nvSpPr>
          <p:cNvPr id="8" name="Titel 7"/>
          <p:cNvSpPr>
            <a:spLocks noGrp="1" noSelect="1"/>
          </p:cNvSpPr>
          <p:nvPr>
            <p:ph type="title" hasCustomPrompt="1"/>
          </p:nvPr>
        </p:nvSpPr>
        <p:spPr bwMode="gray"/>
        <p:txBody>
          <a:bodyPr/>
          <a:lstStyle/>
          <a:p>
            <a:r>
              <a:rPr lang="nl-NL" noProof="1"/>
              <a:t>[Titel]</a:t>
            </a:r>
            <a:endParaRPr lang="nl-NL" dirty="0"/>
          </a:p>
        </p:txBody>
      </p:sp>
      <p:sp>
        <p:nvSpPr>
          <p:cNvPr id="27" name="Tijdelijke aanduiding voor inhoud 8"/>
          <p:cNvSpPr>
            <a:spLocks noGrp="1" noSelect="1"/>
          </p:cNvSpPr>
          <p:nvPr>
            <p:ph sz="quarter" idx="18" hasCustomPrompt="1"/>
          </p:nvPr>
        </p:nvSpPr>
        <p:spPr bwMode="gray">
          <a:xfrm>
            <a:off x="7715422" y="5260514"/>
            <a:ext cx="3402954" cy="537166"/>
          </a:xfrm>
        </p:spPr>
        <p:txBody>
          <a:bodyPr/>
          <a:lstStyle>
            <a:lvl1pPr marL="36000" indent="0" algn="l">
              <a:buNone/>
              <a:defRPr sz="1100"/>
            </a:lvl1pPr>
            <a:lvl2pPr marL="36000" indent="0" algn="l">
              <a:buNone/>
              <a:defRPr sz="1100" b="0"/>
            </a:lvl2pPr>
            <a:lvl3pPr marL="36000" indent="0" algn="l">
              <a:buNone/>
              <a:defRPr sz="1100" b="0"/>
            </a:lvl3pPr>
            <a:lvl4pPr marL="36000" indent="0" algn="l">
              <a:buFont typeface="Arial" panose="020B0604020202020204" pitchFamily="34" charset="0"/>
              <a:buNone/>
              <a:defRPr sz="1100" b="0"/>
            </a:lvl4pPr>
            <a:lvl5pPr marL="36000" indent="0" algn="l">
              <a:buFont typeface="Arial" panose="020B0604020202020204" pitchFamily="34" charset="0"/>
              <a:buNone/>
              <a:defRPr sz="1100" b="0"/>
            </a:lvl5pPr>
            <a:lvl6pPr marL="36000" indent="0" algn="l">
              <a:buFont typeface="Arial" panose="020B0604020202020204" pitchFamily="34" charset="0"/>
              <a:buNone/>
              <a:defRPr sz="1100" b="0"/>
            </a:lvl6pPr>
            <a:lvl7pPr marL="36000" indent="0" algn="l">
              <a:buFont typeface="Arial" panose="020B0604020202020204" pitchFamily="34" charset="0"/>
              <a:buNone/>
              <a:defRPr sz="1100" b="0"/>
            </a:lvl7pPr>
            <a:lvl8pPr marL="36000" indent="0" algn="l">
              <a:buFont typeface="Arial" panose="020B0604020202020204" pitchFamily="34" charset="0"/>
              <a:buNone/>
              <a:defRPr sz="1100" b="0"/>
            </a:lvl8pPr>
            <a:lvl9pPr marL="36000" indent="0" algn="l">
              <a:buFont typeface="Arial" panose="020B0604020202020204" pitchFamily="34" charset="0"/>
              <a:buNone/>
              <a:defRPr sz="1100" b="0"/>
            </a:lvl9pPr>
          </a:lstStyle>
          <a:p>
            <a:pPr lvl="0"/>
            <a:r>
              <a:rPr lang="nl-NL" noProof="1"/>
              <a:t>[Tekst]</a:t>
            </a:r>
          </a:p>
        </p:txBody>
      </p:sp>
      <p:sp>
        <p:nvSpPr>
          <p:cNvPr id="3" name="Tijdelijke aanduiding voor afbeelding 2"/>
          <p:cNvSpPr>
            <a:spLocks noGrp="1" noSelect="1"/>
          </p:cNvSpPr>
          <p:nvPr>
            <p:ph type="pic" sz="quarter" idx="22" hasCustomPrompt="1"/>
          </p:nvPr>
        </p:nvSpPr>
        <p:spPr bwMode="gray">
          <a:xfrm>
            <a:off x="1080000" y="1709999"/>
            <a:ext cx="6370637" cy="4248000"/>
          </a:xfrm>
          <a:solidFill>
            <a:schemeClr val="bg1">
              <a:lumMod val="75000"/>
            </a:schemeClr>
          </a:solidFill>
        </p:spPr>
        <p:txBody>
          <a:bodyPr/>
          <a:lstStyle>
            <a:lvl1pPr marL="0" indent="0">
              <a:buFontTx/>
              <a:buNone/>
              <a:defRPr/>
            </a:lvl1pPr>
          </a:lstStyle>
          <a:p>
            <a:r>
              <a:rPr lang="nl-NL" dirty="0"/>
              <a:t>[Klik op het pictogram om een afbeelding in te voegen]</a:t>
            </a:r>
          </a:p>
        </p:txBody>
      </p:sp>
      <p:sp>
        <p:nvSpPr>
          <p:cNvPr id="2" name="Tijdelijke aanduiding voor datum 1"/>
          <p:cNvSpPr>
            <a:spLocks noGrp="1" noSelect="1"/>
          </p:cNvSpPr>
          <p:nvPr>
            <p:ph type="dt" sz="half" idx="23"/>
          </p:nvPr>
        </p:nvSpPr>
        <p:spPr bwMode="gray"/>
        <p:txBody>
          <a:bodyPr/>
          <a:lstStyle/>
          <a:p>
            <a:fld id="{64DA811B-765D-4408-9495-E92A0CD192C6}" type="datetime4">
              <a:rPr lang="nl-NL" noProof="1" smtClean="0"/>
              <a:t>22 september 2022</a:t>
            </a:fld>
            <a:endParaRPr lang="nl-NL" noProof="1"/>
          </a:p>
        </p:txBody>
      </p:sp>
      <p:sp>
        <p:nvSpPr>
          <p:cNvPr id="4" name="Tijdelijke aanduiding voor voettekst 3"/>
          <p:cNvSpPr>
            <a:spLocks noGrp="1" noSelect="1"/>
          </p:cNvSpPr>
          <p:nvPr>
            <p:ph type="ftr" sz="quarter" idx="24"/>
          </p:nvPr>
        </p:nvSpPr>
        <p:spPr bwMode="gray"/>
        <p:txBody>
          <a:bodyPr/>
          <a:lstStyle/>
          <a:p>
            <a:r>
              <a:rPr lang="nl-NL" noProof="1"/>
              <a:t>[Plaats hier de aanduiding van het OM onderdeel]</a:t>
            </a:r>
          </a:p>
        </p:txBody>
      </p:sp>
      <p:sp>
        <p:nvSpPr>
          <p:cNvPr id="5" name="Tijdelijke aanduiding voor dianummer 4"/>
          <p:cNvSpPr>
            <a:spLocks noGrp="1" noSelect="1"/>
          </p:cNvSpPr>
          <p:nvPr>
            <p:ph type="sldNum" sz="quarter" idx="25"/>
          </p:nvPr>
        </p:nvSpPr>
        <p:spPr bwMode="gray"/>
        <p:txBody>
          <a:bodyPr/>
          <a:lstStyle/>
          <a:p>
            <a:r>
              <a:rPr lang="nl-NL" noProof="1"/>
              <a:t>pagina </a:t>
            </a:r>
            <a:fld id="{1336C48C-F87C-4E4B-81EF-5027B17D1F61}" type="slidenum">
              <a:rPr lang="nl-NL" noProof="1" smtClean="0"/>
              <a:pPr/>
              <a:t>‹nr.›</a:t>
            </a:fld>
            <a:endParaRPr lang="nl-NL" noProof="1"/>
          </a:p>
        </p:txBody>
      </p:sp>
    </p:spTree>
    <p:extLst>
      <p:ext uri="{BB962C8B-B14F-4D97-AF65-F5344CB8AC3E}">
        <p14:creationId xmlns:p14="http://schemas.microsoft.com/office/powerpoint/2010/main" val="1041601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p>
            <a:r>
              <a:rPr lang="nl-NL" noProof="1"/>
              <a:t>[Titel]</a:t>
            </a:r>
          </a:p>
        </p:txBody>
      </p:sp>
      <p:sp>
        <p:nvSpPr>
          <p:cNvPr id="3" name="Tijdelijke aanduiding voor datum 2"/>
          <p:cNvSpPr>
            <a:spLocks noGrp="1" noSelect="1"/>
          </p:cNvSpPr>
          <p:nvPr>
            <p:ph type="dt" sz="half" idx="10"/>
          </p:nvPr>
        </p:nvSpPr>
        <p:spPr bwMode="gray"/>
        <p:txBody>
          <a:bodyPr/>
          <a:lstStyle/>
          <a:p>
            <a:fld id="{027BDABA-D4B9-471C-BB5F-EB59741878BA}" type="datetime4">
              <a:rPr lang="nl-NL" noProof="1" smtClean="0"/>
              <a:t>22 september 2022</a:t>
            </a:fld>
            <a:endParaRPr lang="nl-NL" noProof="1"/>
          </a:p>
        </p:txBody>
      </p:sp>
      <p:sp>
        <p:nvSpPr>
          <p:cNvPr id="4" name="Tijdelijke aanduiding voor voettekst 3"/>
          <p:cNvSpPr>
            <a:spLocks noGrp="1" noSelect="1"/>
          </p:cNvSpPr>
          <p:nvPr>
            <p:ph type="ftr" sz="quarter" idx="11"/>
          </p:nvPr>
        </p:nvSpPr>
        <p:spPr bwMode="gray"/>
        <p:txBody>
          <a:bodyPr/>
          <a:lstStyle/>
          <a:p>
            <a:r>
              <a:rPr lang="nl-NL" noProof="1"/>
              <a:t>[Plaats hier de aanduiding van het OM onderdeel]</a:t>
            </a:r>
          </a:p>
        </p:txBody>
      </p:sp>
      <p:sp>
        <p:nvSpPr>
          <p:cNvPr id="5" name="Tijdelijke aanduiding voor dianummer 4"/>
          <p:cNvSpPr>
            <a:spLocks noGrp="1" noSelect="1"/>
          </p:cNvSpPr>
          <p:nvPr>
            <p:ph type="sldNum" sz="quarter" idx="12"/>
          </p:nvPr>
        </p:nvSpPr>
        <p:spPr bwMode="gray"/>
        <p:txBody>
          <a:bodyPr/>
          <a:lstStyle/>
          <a:p>
            <a:r>
              <a:rPr lang="nl-NL" noProof="1"/>
              <a:t>pagina </a:t>
            </a:r>
            <a:fld id="{1336C48C-F87C-4E4B-81EF-5027B17D1F61}" type="slidenum">
              <a:rPr lang="nl-NL" noProof="1" smtClean="0"/>
              <a:pPr/>
              <a:t>‹nr.›</a:t>
            </a:fld>
            <a:endParaRPr lang="nl-NL" noProof="1"/>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2" name="Tijdelijke aanduiding voor datum 1"/>
          <p:cNvSpPr>
            <a:spLocks noGrp="1" noSelect="1"/>
          </p:cNvSpPr>
          <p:nvPr>
            <p:ph type="dt" sz="half" idx="10"/>
          </p:nvPr>
        </p:nvSpPr>
        <p:spPr bwMode="gray"/>
        <p:txBody>
          <a:bodyPr/>
          <a:lstStyle/>
          <a:p>
            <a:fld id="{6A807A3B-5E6A-4278-AC64-ACAE88FA6E19}" type="datetime4">
              <a:rPr lang="nl-NL" noProof="1" smtClean="0"/>
              <a:t>22 september 2022</a:t>
            </a:fld>
            <a:endParaRPr lang="nl-NL" noProof="1"/>
          </a:p>
        </p:txBody>
      </p:sp>
      <p:sp>
        <p:nvSpPr>
          <p:cNvPr id="3" name="Tijdelijke aanduiding voor voettekst 2"/>
          <p:cNvSpPr>
            <a:spLocks noGrp="1" noSelect="1"/>
          </p:cNvSpPr>
          <p:nvPr>
            <p:ph type="ftr" sz="quarter" idx="11"/>
          </p:nvPr>
        </p:nvSpPr>
        <p:spPr bwMode="gray"/>
        <p:txBody>
          <a:bodyPr/>
          <a:lstStyle/>
          <a:p>
            <a:r>
              <a:rPr lang="nl-NL" noProof="1"/>
              <a:t>[Plaats hier de aanduiding van het OM onderdeel]</a:t>
            </a:r>
          </a:p>
        </p:txBody>
      </p:sp>
      <p:sp>
        <p:nvSpPr>
          <p:cNvPr id="4" name="Tijdelijke aanduiding voor dianummer 3"/>
          <p:cNvSpPr>
            <a:spLocks noGrp="1" noSelect="1"/>
          </p:cNvSpPr>
          <p:nvPr>
            <p:ph type="sldNum" sz="quarter" idx="12"/>
          </p:nvPr>
        </p:nvSpPr>
        <p:spPr bwMode="gray"/>
        <p:txBody>
          <a:bodyPr/>
          <a:lstStyle/>
          <a:p>
            <a:r>
              <a:rPr lang="nl-NL" noProof="1"/>
              <a:t>pagina </a:t>
            </a:r>
            <a:fld id="{1336C48C-F87C-4E4B-81EF-5027B17D1F61}" type="slidenum">
              <a:rPr lang="nl-NL" noProof="1" smtClean="0"/>
              <a:pPr/>
              <a:t>‹nr.›</a:t>
            </a:fld>
            <a:endParaRPr lang="nl-NL" noProof="1"/>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dia blauw">
    <p:spTree>
      <p:nvGrpSpPr>
        <p:cNvPr id="1" name=""/>
        <p:cNvGrpSpPr/>
        <p:nvPr/>
      </p:nvGrpSpPr>
      <p:grpSpPr>
        <a:xfrm>
          <a:off x="0" y="0"/>
          <a:ext cx="0" cy="0"/>
          <a:chOff x="0" y="0"/>
          <a:chExt cx="0" cy="0"/>
        </a:xfrm>
      </p:grpSpPr>
      <p:sp>
        <p:nvSpPr>
          <p:cNvPr id="10" name="Rectangle 3"/>
          <p:cNvSpPr>
            <a:spLocks noSelect="1" noChangeArrowheads="1"/>
          </p:cNvSpPr>
          <p:nvPr userDrawn="1"/>
        </p:nvSpPr>
        <p:spPr bwMode="gray">
          <a:xfrm>
            <a:off x="0" y="0"/>
            <a:ext cx="12189600" cy="1709738"/>
          </a:xfrm>
          <a:prstGeom prst="rect">
            <a:avLst/>
          </a:prstGeom>
          <a:solidFill>
            <a:schemeClr val="accent2"/>
          </a:solidFill>
          <a:ln>
            <a:noFill/>
          </a:ln>
          <a:effectLst/>
        </p:spPr>
        <p:txBody>
          <a:bodyPr wrap="none" anchor="ctr"/>
          <a:lstStyle/>
          <a:p>
            <a:pPr eaLnBrk="1" hangingPunct="1">
              <a:defRPr/>
            </a:pPr>
            <a:endParaRPr lang="nl-NL" dirty="0">
              <a:latin typeface="Arial Black" charset="0"/>
            </a:endParaRPr>
          </a:p>
        </p:txBody>
      </p:sp>
      <p:sp>
        <p:nvSpPr>
          <p:cNvPr id="15" name="Rechthoek 14"/>
          <p:cNvSpPr>
            <a:spLocks noSelect="1"/>
          </p:cNvSpPr>
          <p:nvPr userDrawn="1"/>
        </p:nvSpPr>
        <p:spPr bwMode="gray">
          <a:xfrm>
            <a:off x="813" y="1711033"/>
            <a:ext cx="12189600" cy="450000"/>
          </a:xfrm>
          <a:prstGeom prst="rect">
            <a:avLst/>
          </a:prstGeom>
          <a:solidFill>
            <a:srgbClr val="001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0" name="Freeform 5"/>
          <p:cNvSpPr>
            <a:spLocks noSelect="1"/>
          </p:cNvSpPr>
          <p:nvPr userDrawn="1"/>
        </p:nvSpPr>
        <p:spPr bwMode="gray">
          <a:xfrm>
            <a:off x="1089025" y="1876425"/>
            <a:ext cx="2944813" cy="114300"/>
          </a:xfrm>
          <a:custGeom>
            <a:avLst/>
            <a:gdLst>
              <a:gd name="T0" fmla="*/ 6618 w 9279"/>
              <a:gd name="T1" fmla="*/ 356 h 356"/>
              <a:gd name="T2" fmla="*/ 6602 w 9279"/>
              <a:gd name="T3" fmla="*/ 290 h 356"/>
              <a:gd name="T4" fmla="*/ 6540 w 9279"/>
              <a:gd name="T5" fmla="*/ 124 h 356"/>
              <a:gd name="T6" fmla="*/ 6938 w 9279"/>
              <a:gd name="T7" fmla="*/ 78 h 356"/>
              <a:gd name="T8" fmla="*/ 6618 w 9279"/>
              <a:gd name="T9" fmla="*/ 64 h 356"/>
              <a:gd name="T10" fmla="*/ 8373 w 9279"/>
              <a:gd name="T11" fmla="*/ 222 h 356"/>
              <a:gd name="T12" fmla="*/ 8186 w 9279"/>
              <a:gd name="T13" fmla="*/ 222 h 356"/>
              <a:gd name="T14" fmla="*/ 8421 w 9279"/>
              <a:gd name="T15" fmla="*/ 0 h 356"/>
              <a:gd name="T16" fmla="*/ 8373 w 9279"/>
              <a:gd name="T17" fmla="*/ 222 h 356"/>
              <a:gd name="T18" fmla="*/ 8384 w 9279"/>
              <a:gd name="T19" fmla="*/ 61 h 356"/>
              <a:gd name="T20" fmla="*/ 2014 w 9279"/>
              <a:gd name="T21" fmla="*/ 237 h 356"/>
              <a:gd name="T22" fmla="*/ 1731 w 9279"/>
              <a:gd name="T23" fmla="*/ 356 h 356"/>
              <a:gd name="T24" fmla="*/ 2092 w 9279"/>
              <a:gd name="T25" fmla="*/ 0 h 356"/>
              <a:gd name="T26" fmla="*/ 2643 w 9279"/>
              <a:gd name="T27" fmla="*/ 286 h 356"/>
              <a:gd name="T28" fmla="*/ 2556 w 9279"/>
              <a:gd name="T29" fmla="*/ 0 h 356"/>
              <a:gd name="T30" fmla="*/ 2643 w 9279"/>
              <a:gd name="T31" fmla="*/ 241 h 356"/>
              <a:gd name="T32" fmla="*/ 2555 w 9279"/>
              <a:gd name="T33" fmla="*/ 83 h 356"/>
              <a:gd name="T34" fmla="*/ 2559 w 9279"/>
              <a:gd name="T35" fmla="*/ 233 h 356"/>
              <a:gd name="T36" fmla="*/ 2517 w 9279"/>
              <a:gd name="T37" fmla="*/ 292 h 356"/>
              <a:gd name="T38" fmla="*/ 8980 w 9279"/>
              <a:gd name="T39" fmla="*/ 202 h 356"/>
              <a:gd name="T40" fmla="*/ 8980 w 9279"/>
              <a:gd name="T41" fmla="*/ 63 h 356"/>
              <a:gd name="T42" fmla="*/ 8893 w 9279"/>
              <a:gd name="T43" fmla="*/ 356 h 356"/>
              <a:gd name="T44" fmla="*/ 1227 w 9279"/>
              <a:gd name="T45" fmla="*/ 202 h 356"/>
              <a:gd name="T46" fmla="*/ 1227 w 9279"/>
              <a:gd name="T47" fmla="*/ 63 h 356"/>
              <a:gd name="T48" fmla="*/ 1140 w 9279"/>
              <a:gd name="T49" fmla="*/ 356 h 356"/>
              <a:gd name="T50" fmla="*/ 1227 w 9279"/>
              <a:gd name="T51" fmla="*/ 202 h 356"/>
              <a:gd name="T52" fmla="*/ 93 w 9279"/>
              <a:gd name="T53" fmla="*/ 356 h 356"/>
              <a:gd name="T54" fmla="*/ 368 w 9279"/>
              <a:gd name="T55" fmla="*/ 0 h 356"/>
              <a:gd name="T56" fmla="*/ 87 w 9279"/>
              <a:gd name="T57" fmla="*/ 288 h 356"/>
              <a:gd name="T58" fmla="*/ 1015 w 9279"/>
              <a:gd name="T59" fmla="*/ 148 h 356"/>
              <a:gd name="T60" fmla="*/ 611 w 9279"/>
              <a:gd name="T61" fmla="*/ 356 h 356"/>
              <a:gd name="T62" fmla="*/ 934 w 9279"/>
              <a:gd name="T63" fmla="*/ 90 h 356"/>
              <a:gd name="T64" fmla="*/ 895 w 9279"/>
              <a:gd name="T65" fmla="*/ 156 h 356"/>
              <a:gd name="T66" fmla="*/ 8735 w 9279"/>
              <a:gd name="T67" fmla="*/ 356 h 356"/>
              <a:gd name="T68" fmla="*/ 6051 w 9279"/>
              <a:gd name="T69" fmla="*/ 237 h 356"/>
              <a:gd name="T70" fmla="*/ 5768 w 9279"/>
              <a:gd name="T71" fmla="*/ 356 h 356"/>
              <a:gd name="T72" fmla="*/ 6129 w 9279"/>
              <a:gd name="T73" fmla="*/ 0 h 356"/>
              <a:gd name="T74" fmla="*/ 5444 w 9279"/>
              <a:gd name="T75" fmla="*/ 178 h 356"/>
              <a:gd name="T76" fmla="*/ 5531 w 9279"/>
              <a:gd name="T77" fmla="*/ 178 h 356"/>
              <a:gd name="T78" fmla="*/ 6288 w 9279"/>
              <a:gd name="T79" fmla="*/ 356 h 356"/>
              <a:gd name="T80" fmla="*/ 6288 w 9279"/>
              <a:gd name="T81" fmla="*/ 356 h 356"/>
              <a:gd name="T82" fmla="*/ 4798 w 9279"/>
              <a:gd name="T83" fmla="*/ 356 h 356"/>
              <a:gd name="T84" fmla="*/ 5046 w 9279"/>
              <a:gd name="T85" fmla="*/ 313 h 356"/>
              <a:gd name="T86" fmla="*/ 5286 w 9279"/>
              <a:gd name="T87" fmla="*/ 0 h 356"/>
              <a:gd name="T88" fmla="*/ 3804 w 9279"/>
              <a:gd name="T89" fmla="*/ 356 h 356"/>
              <a:gd name="T90" fmla="*/ 3381 w 9279"/>
              <a:gd name="T91" fmla="*/ 356 h 356"/>
              <a:gd name="T92" fmla="*/ 3626 w 9279"/>
              <a:gd name="T93" fmla="*/ 213 h 356"/>
              <a:gd name="T94" fmla="*/ 7676 w 9279"/>
              <a:gd name="T95" fmla="*/ 202 h 356"/>
              <a:gd name="T96" fmla="*/ 7676 w 9279"/>
              <a:gd name="T97" fmla="*/ 63 h 356"/>
              <a:gd name="T98" fmla="*/ 7589 w 9279"/>
              <a:gd name="T99" fmla="*/ 356 h 356"/>
              <a:gd name="T100" fmla="*/ 7676 w 9279"/>
              <a:gd name="T101" fmla="*/ 202 h 356"/>
              <a:gd name="T102" fmla="*/ 4060 w 9279"/>
              <a:gd name="T103" fmla="*/ 221 h 356"/>
              <a:gd name="T104" fmla="*/ 3892 w 9279"/>
              <a:gd name="T105" fmla="*/ 0 h 356"/>
              <a:gd name="T106" fmla="*/ 4213 w 9279"/>
              <a:gd name="T107" fmla="*/ 221 h 356"/>
              <a:gd name="T108" fmla="*/ 4216 w 9279"/>
              <a:gd name="T109" fmla="*/ 90 h 356"/>
              <a:gd name="T110" fmla="*/ 4176 w 9279"/>
              <a:gd name="T111" fmla="*/ 160 h 356"/>
              <a:gd name="T112" fmla="*/ 3088 w 9279"/>
              <a:gd name="T113" fmla="*/ 278 h 356"/>
              <a:gd name="T114" fmla="*/ 2932 w 9279"/>
              <a:gd name="T115" fmla="*/ 0 h 356"/>
              <a:gd name="T116" fmla="*/ 2889 w 9279"/>
              <a:gd name="T117" fmla="*/ 213 h 356"/>
              <a:gd name="T118" fmla="*/ 7217 w 9279"/>
              <a:gd name="T119" fmla="*/ 356 h 356"/>
              <a:gd name="T120" fmla="*/ 7477 w 9279"/>
              <a:gd name="T121"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79" h="356">
                <a:moveTo>
                  <a:pt x="6942" y="223"/>
                </a:moveTo>
                <a:cubicBezTo>
                  <a:pt x="6942" y="272"/>
                  <a:pt x="6942" y="272"/>
                  <a:pt x="6942" y="272"/>
                </a:cubicBezTo>
                <a:cubicBezTo>
                  <a:pt x="6942" y="339"/>
                  <a:pt x="6920" y="356"/>
                  <a:pt x="6849" y="356"/>
                </a:cubicBezTo>
                <a:cubicBezTo>
                  <a:pt x="6618" y="356"/>
                  <a:pt x="6618" y="356"/>
                  <a:pt x="6618" y="356"/>
                </a:cubicBezTo>
                <a:cubicBezTo>
                  <a:pt x="6547" y="356"/>
                  <a:pt x="6524" y="339"/>
                  <a:pt x="6524" y="272"/>
                </a:cubicBezTo>
                <a:cubicBezTo>
                  <a:pt x="6524" y="262"/>
                  <a:pt x="6524" y="262"/>
                  <a:pt x="6524" y="262"/>
                </a:cubicBezTo>
                <a:cubicBezTo>
                  <a:pt x="6602" y="248"/>
                  <a:pt x="6602" y="248"/>
                  <a:pt x="6602" y="248"/>
                </a:cubicBezTo>
                <a:cubicBezTo>
                  <a:pt x="6602" y="290"/>
                  <a:pt x="6602" y="290"/>
                  <a:pt x="6602" y="290"/>
                </a:cubicBezTo>
                <a:cubicBezTo>
                  <a:pt x="6864" y="290"/>
                  <a:pt x="6864" y="290"/>
                  <a:pt x="6864" y="290"/>
                </a:cubicBezTo>
                <a:cubicBezTo>
                  <a:pt x="6864" y="208"/>
                  <a:pt x="6864" y="208"/>
                  <a:pt x="6864" y="208"/>
                </a:cubicBezTo>
                <a:cubicBezTo>
                  <a:pt x="6633" y="208"/>
                  <a:pt x="6633" y="208"/>
                  <a:pt x="6633" y="208"/>
                </a:cubicBezTo>
                <a:cubicBezTo>
                  <a:pt x="6563" y="208"/>
                  <a:pt x="6540" y="191"/>
                  <a:pt x="6540" y="124"/>
                </a:cubicBezTo>
                <a:cubicBezTo>
                  <a:pt x="6540" y="84"/>
                  <a:pt x="6540" y="84"/>
                  <a:pt x="6540" y="84"/>
                </a:cubicBezTo>
                <a:cubicBezTo>
                  <a:pt x="6540" y="17"/>
                  <a:pt x="6563" y="0"/>
                  <a:pt x="6633" y="0"/>
                </a:cubicBezTo>
                <a:cubicBezTo>
                  <a:pt x="6844" y="0"/>
                  <a:pt x="6844" y="0"/>
                  <a:pt x="6844" y="0"/>
                </a:cubicBezTo>
                <a:cubicBezTo>
                  <a:pt x="6910" y="0"/>
                  <a:pt x="6938" y="15"/>
                  <a:pt x="6938" y="78"/>
                </a:cubicBezTo>
                <a:cubicBezTo>
                  <a:pt x="6938" y="86"/>
                  <a:pt x="6938" y="86"/>
                  <a:pt x="6938" y="86"/>
                </a:cubicBezTo>
                <a:cubicBezTo>
                  <a:pt x="6863" y="102"/>
                  <a:pt x="6863" y="102"/>
                  <a:pt x="6863" y="102"/>
                </a:cubicBezTo>
                <a:cubicBezTo>
                  <a:pt x="6863" y="64"/>
                  <a:pt x="6863" y="64"/>
                  <a:pt x="6863" y="64"/>
                </a:cubicBezTo>
                <a:cubicBezTo>
                  <a:pt x="6618" y="64"/>
                  <a:pt x="6618" y="64"/>
                  <a:pt x="6618" y="64"/>
                </a:cubicBezTo>
                <a:cubicBezTo>
                  <a:pt x="6618" y="139"/>
                  <a:pt x="6618" y="139"/>
                  <a:pt x="6618" y="139"/>
                </a:cubicBezTo>
                <a:cubicBezTo>
                  <a:pt x="6849" y="139"/>
                  <a:pt x="6849" y="139"/>
                  <a:pt x="6849" y="139"/>
                </a:cubicBezTo>
                <a:cubicBezTo>
                  <a:pt x="6920" y="139"/>
                  <a:pt x="6942" y="156"/>
                  <a:pt x="6942" y="223"/>
                </a:cubicBezTo>
                <a:close/>
                <a:moveTo>
                  <a:pt x="8373" y="222"/>
                </a:moveTo>
                <a:cubicBezTo>
                  <a:pt x="8542" y="356"/>
                  <a:pt x="8542" y="356"/>
                  <a:pt x="8542" y="356"/>
                </a:cubicBezTo>
                <a:cubicBezTo>
                  <a:pt x="8417" y="356"/>
                  <a:pt x="8417" y="356"/>
                  <a:pt x="8417" y="356"/>
                </a:cubicBezTo>
                <a:cubicBezTo>
                  <a:pt x="8268" y="222"/>
                  <a:pt x="8268" y="222"/>
                  <a:pt x="8268" y="222"/>
                </a:cubicBezTo>
                <a:cubicBezTo>
                  <a:pt x="8186" y="222"/>
                  <a:pt x="8186" y="222"/>
                  <a:pt x="8186" y="222"/>
                </a:cubicBezTo>
                <a:cubicBezTo>
                  <a:pt x="8186" y="356"/>
                  <a:pt x="8186" y="356"/>
                  <a:pt x="8186" y="356"/>
                </a:cubicBezTo>
                <a:cubicBezTo>
                  <a:pt x="8101" y="356"/>
                  <a:pt x="8101" y="356"/>
                  <a:pt x="8101" y="356"/>
                </a:cubicBezTo>
                <a:cubicBezTo>
                  <a:pt x="8101" y="0"/>
                  <a:pt x="8101" y="0"/>
                  <a:pt x="8101" y="0"/>
                </a:cubicBezTo>
                <a:cubicBezTo>
                  <a:pt x="8421" y="0"/>
                  <a:pt x="8421" y="0"/>
                  <a:pt x="8421" y="0"/>
                </a:cubicBezTo>
                <a:cubicBezTo>
                  <a:pt x="8479" y="0"/>
                  <a:pt x="8505" y="19"/>
                  <a:pt x="8505" y="69"/>
                </a:cubicBezTo>
                <a:cubicBezTo>
                  <a:pt x="8505" y="153"/>
                  <a:pt x="8505" y="153"/>
                  <a:pt x="8505" y="153"/>
                </a:cubicBezTo>
                <a:cubicBezTo>
                  <a:pt x="8505" y="202"/>
                  <a:pt x="8479" y="222"/>
                  <a:pt x="8421" y="222"/>
                </a:cubicBezTo>
                <a:lnTo>
                  <a:pt x="8373" y="222"/>
                </a:lnTo>
                <a:close/>
                <a:moveTo>
                  <a:pt x="8384" y="160"/>
                </a:moveTo>
                <a:cubicBezTo>
                  <a:pt x="8410" y="160"/>
                  <a:pt x="8424" y="155"/>
                  <a:pt x="8424" y="131"/>
                </a:cubicBezTo>
                <a:cubicBezTo>
                  <a:pt x="8424" y="90"/>
                  <a:pt x="8424" y="90"/>
                  <a:pt x="8424" y="90"/>
                </a:cubicBezTo>
                <a:cubicBezTo>
                  <a:pt x="8424" y="67"/>
                  <a:pt x="8410" y="61"/>
                  <a:pt x="8384" y="61"/>
                </a:cubicBezTo>
                <a:cubicBezTo>
                  <a:pt x="8186" y="61"/>
                  <a:pt x="8186" y="61"/>
                  <a:pt x="8186" y="61"/>
                </a:cubicBezTo>
                <a:cubicBezTo>
                  <a:pt x="8186" y="160"/>
                  <a:pt x="8186" y="160"/>
                  <a:pt x="8186" y="160"/>
                </a:cubicBezTo>
                <a:lnTo>
                  <a:pt x="8384" y="160"/>
                </a:lnTo>
                <a:close/>
                <a:moveTo>
                  <a:pt x="2014" y="237"/>
                </a:moveTo>
                <a:cubicBezTo>
                  <a:pt x="1711" y="0"/>
                  <a:pt x="1711" y="0"/>
                  <a:pt x="1711" y="0"/>
                </a:cubicBezTo>
                <a:cubicBezTo>
                  <a:pt x="1652" y="0"/>
                  <a:pt x="1652" y="0"/>
                  <a:pt x="1652" y="0"/>
                </a:cubicBezTo>
                <a:cubicBezTo>
                  <a:pt x="1652" y="356"/>
                  <a:pt x="1652" y="356"/>
                  <a:pt x="1652" y="356"/>
                </a:cubicBezTo>
                <a:cubicBezTo>
                  <a:pt x="1731" y="356"/>
                  <a:pt x="1731" y="356"/>
                  <a:pt x="1731" y="356"/>
                </a:cubicBezTo>
                <a:cubicBezTo>
                  <a:pt x="1731" y="116"/>
                  <a:pt x="1731" y="116"/>
                  <a:pt x="1731" y="116"/>
                </a:cubicBezTo>
                <a:cubicBezTo>
                  <a:pt x="2032" y="356"/>
                  <a:pt x="2032" y="356"/>
                  <a:pt x="2032" y="356"/>
                </a:cubicBezTo>
                <a:cubicBezTo>
                  <a:pt x="2092" y="356"/>
                  <a:pt x="2092" y="356"/>
                  <a:pt x="2092" y="356"/>
                </a:cubicBezTo>
                <a:cubicBezTo>
                  <a:pt x="2092" y="0"/>
                  <a:pt x="2092" y="0"/>
                  <a:pt x="2092" y="0"/>
                </a:cubicBezTo>
                <a:cubicBezTo>
                  <a:pt x="2014" y="0"/>
                  <a:pt x="2014" y="0"/>
                  <a:pt x="2014" y="0"/>
                </a:cubicBezTo>
                <a:lnTo>
                  <a:pt x="2014" y="237"/>
                </a:lnTo>
                <a:close/>
                <a:moveTo>
                  <a:pt x="2643" y="241"/>
                </a:moveTo>
                <a:cubicBezTo>
                  <a:pt x="2643" y="286"/>
                  <a:pt x="2643" y="286"/>
                  <a:pt x="2643" y="286"/>
                </a:cubicBezTo>
                <a:cubicBezTo>
                  <a:pt x="2643" y="334"/>
                  <a:pt x="2606" y="356"/>
                  <a:pt x="2533" y="356"/>
                </a:cubicBezTo>
                <a:cubicBezTo>
                  <a:pt x="2236" y="356"/>
                  <a:pt x="2236" y="356"/>
                  <a:pt x="2236" y="356"/>
                </a:cubicBezTo>
                <a:cubicBezTo>
                  <a:pt x="2236" y="0"/>
                  <a:pt x="2236" y="0"/>
                  <a:pt x="2236" y="0"/>
                </a:cubicBezTo>
                <a:cubicBezTo>
                  <a:pt x="2556" y="0"/>
                  <a:pt x="2556" y="0"/>
                  <a:pt x="2556" y="0"/>
                </a:cubicBezTo>
                <a:cubicBezTo>
                  <a:pt x="2613" y="0"/>
                  <a:pt x="2640" y="19"/>
                  <a:pt x="2640" y="69"/>
                </a:cubicBezTo>
                <a:cubicBezTo>
                  <a:pt x="2640" y="112"/>
                  <a:pt x="2640" y="112"/>
                  <a:pt x="2640" y="112"/>
                </a:cubicBezTo>
                <a:cubicBezTo>
                  <a:pt x="2640" y="145"/>
                  <a:pt x="2619" y="166"/>
                  <a:pt x="2580" y="173"/>
                </a:cubicBezTo>
                <a:cubicBezTo>
                  <a:pt x="2620" y="179"/>
                  <a:pt x="2643" y="205"/>
                  <a:pt x="2643" y="241"/>
                </a:cubicBezTo>
                <a:close/>
                <a:moveTo>
                  <a:pt x="2322" y="142"/>
                </a:moveTo>
                <a:cubicBezTo>
                  <a:pt x="2517" y="142"/>
                  <a:pt x="2517" y="142"/>
                  <a:pt x="2517" y="142"/>
                </a:cubicBezTo>
                <a:cubicBezTo>
                  <a:pt x="2543" y="142"/>
                  <a:pt x="2555" y="138"/>
                  <a:pt x="2555" y="117"/>
                </a:cubicBezTo>
                <a:cubicBezTo>
                  <a:pt x="2555" y="83"/>
                  <a:pt x="2555" y="83"/>
                  <a:pt x="2555" y="83"/>
                </a:cubicBezTo>
                <a:cubicBezTo>
                  <a:pt x="2555" y="62"/>
                  <a:pt x="2544" y="58"/>
                  <a:pt x="2517" y="58"/>
                </a:cubicBezTo>
                <a:cubicBezTo>
                  <a:pt x="2322" y="58"/>
                  <a:pt x="2322" y="58"/>
                  <a:pt x="2322" y="58"/>
                </a:cubicBezTo>
                <a:lnTo>
                  <a:pt x="2322" y="142"/>
                </a:lnTo>
                <a:close/>
                <a:moveTo>
                  <a:pt x="2559" y="233"/>
                </a:moveTo>
                <a:cubicBezTo>
                  <a:pt x="2559" y="207"/>
                  <a:pt x="2546" y="201"/>
                  <a:pt x="2517" y="201"/>
                </a:cubicBezTo>
                <a:cubicBezTo>
                  <a:pt x="2322" y="201"/>
                  <a:pt x="2322" y="201"/>
                  <a:pt x="2322" y="201"/>
                </a:cubicBezTo>
                <a:cubicBezTo>
                  <a:pt x="2322" y="292"/>
                  <a:pt x="2322" y="292"/>
                  <a:pt x="2322" y="292"/>
                </a:cubicBezTo>
                <a:cubicBezTo>
                  <a:pt x="2517" y="292"/>
                  <a:pt x="2517" y="292"/>
                  <a:pt x="2517" y="292"/>
                </a:cubicBezTo>
                <a:cubicBezTo>
                  <a:pt x="2546" y="292"/>
                  <a:pt x="2559" y="286"/>
                  <a:pt x="2559" y="260"/>
                </a:cubicBezTo>
                <a:lnTo>
                  <a:pt x="2559" y="233"/>
                </a:lnTo>
                <a:close/>
                <a:moveTo>
                  <a:pt x="8980" y="290"/>
                </a:moveTo>
                <a:cubicBezTo>
                  <a:pt x="8980" y="202"/>
                  <a:pt x="8980" y="202"/>
                  <a:pt x="8980" y="202"/>
                </a:cubicBezTo>
                <a:cubicBezTo>
                  <a:pt x="9152" y="202"/>
                  <a:pt x="9152" y="202"/>
                  <a:pt x="9152" y="202"/>
                </a:cubicBezTo>
                <a:cubicBezTo>
                  <a:pt x="9152" y="141"/>
                  <a:pt x="9152" y="141"/>
                  <a:pt x="9152" y="141"/>
                </a:cubicBezTo>
                <a:cubicBezTo>
                  <a:pt x="8980" y="141"/>
                  <a:pt x="8980" y="141"/>
                  <a:pt x="8980" y="141"/>
                </a:cubicBezTo>
                <a:cubicBezTo>
                  <a:pt x="8980" y="63"/>
                  <a:pt x="8980" y="63"/>
                  <a:pt x="8980" y="63"/>
                </a:cubicBezTo>
                <a:cubicBezTo>
                  <a:pt x="9275" y="63"/>
                  <a:pt x="9275" y="63"/>
                  <a:pt x="9275" y="63"/>
                </a:cubicBezTo>
                <a:cubicBezTo>
                  <a:pt x="9275" y="0"/>
                  <a:pt x="9275" y="0"/>
                  <a:pt x="9275" y="0"/>
                </a:cubicBezTo>
                <a:cubicBezTo>
                  <a:pt x="8893" y="0"/>
                  <a:pt x="8893" y="0"/>
                  <a:pt x="8893" y="0"/>
                </a:cubicBezTo>
                <a:cubicBezTo>
                  <a:pt x="8893" y="356"/>
                  <a:pt x="8893" y="356"/>
                  <a:pt x="8893" y="356"/>
                </a:cubicBezTo>
                <a:cubicBezTo>
                  <a:pt x="9279" y="356"/>
                  <a:pt x="9279" y="356"/>
                  <a:pt x="9279" y="356"/>
                </a:cubicBezTo>
                <a:cubicBezTo>
                  <a:pt x="9279" y="290"/>
                  <a:pt x="9279" y="290"/>
                  <a:pt x="9279" y="290"/>
                </a:cubicBezTo>
                <a:lnTo>
                  <a:pt x="8980" y="290"/>
                </a:lnTo>
                <a:close/>
                <a:moveTo>
                  <a:pt x="1227" y="202"/>
                </a:moveTo>
                <a:cubicBezTo>
                  <a:pt x="1399" y="202"/>
                  <a:pt x="1399" y="202"/>
                  <a:pt x="1399" y="202"/>
                </a:cubicBezTo>
                <a:cubicBezTo>
                  <a:pt x="1399" y="141"/>
                  <a:pt x="1399" y="141"/>
                  <a:pt x="1399" y="141"/>
                </a:cubicBezTo>
                <a:cubicBezTo>
                  <a:pt x="1227" y="141"/>
                  <a:pt x="1227" y="141"/>
                  <a:pt x="1227" y="141"/>
                </a:cubicBezTo>
                <a:cubicBezTo>
                  <a:pt x="1227" y="63"/>
                  <a:pt x="1227" y="63"/>
                  <a:pt x="1227" y="63"/>
                </a:cubicBezTo>
                <a:cubicBezTo>
                  <a:pt x="1522" y="63"/>
                  <a:pt x="1522" y="63"/>
                  <a:pt x="1522" y="63"/>
                </a:cubicBezTo>
                <a:cubicBezTo>
                  <a:pt x="1522" y="0"/>
                  <a:pt x="1522" y="0"/>
                  <a:pt x="1522" y="0"/>
                </a:cubicBezTo>
                <a:cubicBezTo>
                  <a:pt x="1140" y="0"/>
                  <a:pt x="1140" y="0"/>
                  <a:pt x="1140" y="0"/>
                </a:cubicBezTo>
                <a:cubicBezTo>
                  <a:pt x="1140" y="356"/>
                  <a:pt x="1140" y="356"/>
                  <a:pt x="1140" y="356"/>
                </a:cubicBezTo>
                <a:cubicBezTo>
                  <a:pt x="1526" y="356"/>
                  <a:pt x="1526" y="356"/>
                  <a:pt x="1526" y="356"/>
                </a:cubicBezTo>
                <a:cubicBezTo>
                  <a:pt x="1526" y="290"/>
                  <a:pt x="1526" y="290"/>
                  <a:pt x="1526" y="290"/>
                </a:cubicBezTo>
                <a:cubicBezTo>
                  <a:pt x="1227" y="290"/>
                  <a:pt x="1227" y="290"/>
                  <a:pt x="1227" y="290"/>
                </a:cubicBezTo>
                <a:lnTo>
                  <a:pt x="1227" y="202"/>
                </a:lnTo>
                <a:close/>
                <a:moveTo>
                  <a:pt x="461" y="84"/>
                </a:moveTo>
                <a:cubicBezTo>
                  <a:pt x="461" y="272"/>
                  <a:pt x="461" y="272"/>
                  <a:pt x="461" y="272"/>
                </a:cubicBezTo>
                <a:cubicBezTo>
                  <a:pt x="461" y="339"/>
                  <a:pt x="438" y="356"/>
                  <a:pt x="368" y="356"/>
                </a:cubicBezTo>
                <a:cubicBezTo>
                  <a:pt x="93" y="356"/>
                  <a:pt x="93" y="356"/>
                  <a:pt x="93" y="356"/>
                </a:cubicBezTo>
                <a:cubicBezTo>
                  <a:pt x="22" y="356"/>
                  <a:pt x="0" y="339"/>
                  <a:pt x="0" y="272"/>
                </a:cubicBezTo>
                <a:cubicBezTo>
                  <a:pt x="0" y="84"/>
                  <a:pt x="0" y="84"/>
                  <a:pt x="0" y="84"/>
                </a:cubicBezTo>
                <a:cubicBezTo>
                  <a:pt x="0" y="16"/>
                  <a:pt x="23" y="0"/>
                  <a:pt x="93" y="0"/>
                </a:cubicBezTo>
                <a:cubicBezTo>
                  <a:pt x="368" y="0"/>
                  <a:pt x="368" y="0"/>
                  <a:pt x="368" y="0"/>
                </a:cubicBezTo>
                <a:cubicBezTo>
                  <a:pt x="438" y="0"/>
                  <a:pt x="461" y="16"/>
                  <a:pt x="461" y="84"/>
                </a:cubicBezTo>
                <a:close/>
                <a:moveTo>
                  <a:pt x="374" y="66"/>
                </a:moveTo>
                <a:cubicBezTo>
                  <a:pt x="87" y="66"/>
                  <a:pt x="87" y="66"/>
                  <a:pt x="87" y="66"/>
                </a:cubicBezTo>
                <a:cubicBezTo>
                  <a:pt x="87" y="288"/>
                  <a:pt x="87" y="288"/>
                  <a:pt x="87" y="288"/>
                </a:cubicBezTo>
                <a:cubicBezTo>
                  <a:pt x="374" y="288"/>
                  <a:pt x="374" y="288"/>
                  <a:pt x="374" y="288"/>
                </a:cubicBezTo>
                <a:lnTo>
                  <a:pt x="374" y="66"/>
                </a:lnTo>
                <a:close/>
                <a:moveTo>
                  <a:pt x="1015" y="69"/>
                </a:moveTo>
                <a:cubicBezTo>
                  <a:pt x="1015" y="148"/>
                  <a:pt x="1015" y="148"/>
                  <a:pt x="1015" y="148"/>
                </a:cubicBezTo>
                <a:cubicBezTo>
                  <a:pt x="1015" y="198"/>
                  <a:pt x="989" y="217"/>
                  <a:pt x="932" y="217"/>
                </a:cubicBezTo>
                <a:cubicBezTo>
                  <a:pt x="697" y="217"/>
                  <a:pt x="697" y="217"/>
                  <a:pt x="697" y="217"/>
                </a:cubicBezTo>
                <a:cubicBezTo>
                  <a:pt x="697" y="356"/>
                  <a:pt x="697" y="356"/>
                  <a:pt x="697" y="356"/>
                </a:cubicBezTo>
                <a:cubicBezTo>
                  <a:pt x="611" y="356"/>
                  <a:pt x="611" y="356"/>
                  <a:pt x="611" y="356"/>
                </a:cubicBezTo>
                <a:cubicBezTo>
                  <a:pt x="611" y="0"/>
                  <a:pt x="611" y="0"/>
                  <a:pt x="611" y="0"/>
                </a:cubicBezTo>
                <a:cubicBezTo>
                  <a:pt x="932" y="0"/>
                  <a:pt x="932" y="0"/>
                  <a:pt x="932" y="0"/>
                </a:cubicBezTo>
                <a:cubicBezTo>
                  <a:pt x="989" y="0"/>
                  <a:pt x="1015" y="19"/>
                  <a:pt x="1015" y="69"/>
                </a:cubicBezTo>
                <a:close/>
                <a:moveTo>
                  <a:pt x="934" y="90"/>
                </a:moveTo>
                <a:cubicBezTo>
                  <a:pt x="934" y="67"/>
                  <a:pt x="921" y="61"/>
                  <a:pt x="895" y="61"/>
                </a:cubicBezTo>
                <a:cubicBezTo>
                  <a:pt x="697" y="61"/>
                  <a:pt x="697" y="61"/>
                  <a:pt x="697" y="61"/>
                </a:cubicBezTo>
                <a:cubicBezTo>
                  <a:pt x="697" y="156"/>
                  <a:pt x="697" y="156"/>
                  <a:pt x="697" y="156"/>
                </a:cubicBezTo>
                <a:cubicBezTo>
                  <a:pt x="895" y="156"/>
                  <a:pt x="895" y="156"/>
                  <a:pt x="895" y="156"/>
                </a:cubicBezTo>
                <a:cubicBezTo>
                  <a:pt x="921" y="156"/>
                  <a:pt x="934" y="151"/>
                  <a:pt x="934" y="127"/>
                </a:cubicBezTo>
                <a:lnTo>
                  <a:pt x="934" y="90"/>
                </a:lnTo>
                <a:close/>
                <a:moveTo>
                  <a:pt x="8648" y="356"/>
                </a:moveTo>
                <a:cubicBezTo>
                  <a:pt x="8735" y="356"/>
                  <a:pt x="8735" y="356"/>
                  <a:pt x="8735" y="356"/>
                </a:cubicBezTo>
                <a:cubicBezTo>
                  <a:pt x="8735" y="0"/>
                  <a:pt x="8735" y="0"/>
                  <a:pt x="8735" y="0"/>
                </a:cubicBezTo>
                <a:cubicBezTo>
                  <a:pt x="8648" y="0"/>
                  <a:pt x="8648" y="0"/>
                  <a:pt x="8648" y="0"/>
                </a:cubicBezTo>
                <a:lnTo>
                  <a:pt x="8648" y="356"/>
                </a:lnTo>
                <a:close/>
                <a:moveTo>
                  <a:pt x="6051" y="237"/>
                </a:moveTo>
                <a:cubicBezTo>
                  <a:pt x="5749" y="0"/>
                  <a:pt x="5749" y="0"/>
                  <a:pt x="5749" y="0"/>
                </a:cubicBezTo>
                <a:cubicBezTo>
                  <a:pt x="5689" y="0"/>
                  <a:pt x="5689" y="0"/>
                  <a:pt x="5689" y="0"/>
                </a:cubicBezTo>
                <a:cubicBezTo>
                  <a:pt x="5689" y="356"/>
                  <a:pt x="5689" y="356"/>
                  <a:pt x="5689" y="356"/>
                </a:cubicBezTo>
                <a:cubicBezTo>
                  <a:pt x="5768" y="356"/>
                  <a:pt x="5768" y="356"/>
                  <a:pt x="5768" y="356"/>
                </a:cubicBezTo>
                <a:cubicBezTo>
                  <a:pt x="5768" y="116"/>
                  <a:pt x="5768" y="116"/>
                  <a:pt x="5768" y="116"/>
                </a:cubicBezTo>
                <a:cubicBezTo>
                  <a:pt x="6070" y="356"/>
                  <a:pt x="6070" y="356"/>
                  <a:pt x="6070" y="356"/>
                </a:cubicBezTo>
                <a:cubicBezTo>
                  <a:pt x="6129" y="356"/>
                  <a:pt x="6129" y="356"/>
                  <a:pt x="6129" y="356"/>
                </a:cubicBezTo>
                <a:cubicBezTo>
                  <a:pt x="6129" y="0"/>
                  <a:pt x="6129" y="0"/>
                  <a:pt x="6129" y="0"/>
                </a:cubicBezTo>
                <a:cubicBezTo>
                  <a:pt x="6051" y="0"/>
                  <a:pt x="6051" y="0"/>
                  <a:pt x="6051" y="0"/>
                </a:cubicBezTo>
                <a:lnTo>
                  <a:pt x="6051" y="237"/>
                </a:lnTo>
                <a:close/>
                <a:moveTo>
                  <a:pt x="5444" y="0"/>
                </a:moveTo>
                <a:cubicBezTo>
                  <a:pt x="5444" y="178"/>
                  <a:pt x="5444" y="178"/>
                  <a:pt x="5444" y="178"/>
                </a:cubicBezTo>
                <a:cubicBezTo>
                  <a:pt x="5444" y="356"/>
                  <a:pt x="5444" y="356"/>
                  <a:pt x="5444" y="356"/>
                </a:cubicBezTo>
                <a:cubicBezTo>
                  <a:pt x="5487" y="356"/>
                  <a:pt x="5487" y="356"/>
                  <a:pt x="5487" y="356"/>
                </a:cubicBezTo>
                <a:cubicBezTo>
                  <a:pt x="5531" y="356"/>
                  <a:pt x="5531" y="356"/>
                  <a:pt x="5531" y="356"/>
                </a:cubicBezTo>
                <a:cubicBezTo>
                  <a:pt x="5531" y="178"/>
                  <a:pt x="5531" y="178"/>
                  <a:pt x="5531" y="178"/>
                </a:cubicBezTo>
                <a:cubicBezTo>
                  <a:pt x="5531" y="0"/>
                  <a:pt x="5531" y="0"/>
                  <a:pt x="5531" y="0"/>
                </a:cubicBezTo>
                <a:cubicBezTo>
                  <a:pt x="5531" y="0"/>
                  <a:pt x="5531" y="0"/>
                  <a:pt x="5531" y="0"/>
                </a:cubicBezTo>
                <a:cubicBezTo>
                  <a:pt x="5444" y="0"/>
                  <a:pt x="5444" y="0"/>
                  <a:pt x="5444" y="0"/>
                </a:cubicBezTo>
                <a:close/>
                <a:moveTo>
                  <a:pt x="6288" y="356"/>
                </a:moveTo>
                <a:cubicBezTo>
                  <a:pt x="6375" y="356"/>
                  <a:pt x="6375" y="356"/>
                  <a:pt x="6375" y="356"/>
                </a:cubicBezTo>
                <a:cubicBezTo>
                  <a:pt x="6375" y="0"/>
                  <a:pt x="6375" y="0"/>
                  <a:pt x="6375" y="0"/>
                </a:cubicBezTo>
                <a:cubicBezTo>
                  <a:pt x="6288" y="0"/>
                  <a:pt x="6288" y="0"/>
                  <a:pt x="6288" y="0"/>
                </a:cubicBezTo>
                <a:lnTo>
                  <a:pt x="6288" y="356"/>
                </a:lnTo>
                <a:close/>
                <a:moveTo>
                  <a:pt x="5042" y="211"/>
                </a:moveTo>
                <a:cubicBezTo>
                  <a:pt x="4868" y="0"/>
                  <a:pt x="4868" y="0"/>
                  <a:pt x="4868" y="0"/>
                </a:cubicBezTo>
                <a:cubicBezTo>
                  <a:pt x="4798" y="0"/>
                  <a:pt x="4798" y="0"/>
                  <a:pt x="4798" y="0"/>
                </a:cubicBezTo>
                <a:cubicBezTo>
                  <a:pt x="4798" y="356"/>
                  <a:pt x="4798" y="356"/>
                  <a:pt x="4798" y="356"/>
                </a:cubicBezTo>
                <a:cubicBezTo>
                  <a:pt x="4868" y="356"/>
                  <a:pt x="4868" y="356"/>
                  <a:pt x="4868" y="356"/>
                </a:cubicBezTo>
                <a:cubicBezTo>
                  <a:pt x="4868" y="117"/>
                  <a:pt x="4868" y="117"/>
                  <a:pt x="4868" y="117"/>
                </a:cubicBezTo>
                <a:cubicBezTo>
                  <a:pt x="5029" y="313"/>
                  <a:pt x="5029" y="313"/>
                  <a:pt x="5029" y="313"/>
                </a:cubicBezTo>
                <a:cubicBezTo>
                  <a:pt x="5046" y="313"/>
                  <a:pt x="5046" y="313"/>
                  <a:pt x="5046" y="313"/>
                </a:cubicBezTo>
                <a:cubicBezTo>
                  <a:pt x="5205" y="111"/>
                  <a:pt x="5205" y="111"/>
                  <a:pt x="5205" y="111"/>
                </a:cubicBezTo>
                <a:cubicBezTo>
                  <a:pt x="5205" y="356"/>
                  <a:pt x="5205" y="356"/>
                  <a:pt x="5205" y="356"/>
                </a:cubicBezTo>
                <a:cubicBezTo>
                  <a:pt x="5286" y="356"/>
                  <a:pt x="5286" y="356"/>
                  <a:pt x="5286" y="356"/>
                </a:cubicBezTo>
                <a:cubicBezTo>
                  <a:pt x="5286" y="0"/>
                  <a:pt x="5286" y="0"/>
                  <a:pt x="5286" y="0"/>
                </a:cubicBezTo>
                <a:cubicBezTo>
                  <a:pt x="5216" y="0"/>
                  <a:pt x="5216" y="0"/>
                  <a:pt x="5216" y="0"/>
                </a:cubicBezTo>
                <a:lnTo>
                  <a:pt x="5042" y="211"/>
                </a:lnTo>
                <a:close/>
                <a:moveTo>
                  <a:pt x="3589" y="0"/>
                </a:moveTo>
                <a:cubicBezTo>
                  <a:pt x="3804" y="356"/>
                  <a:pt x="3804" y="356"/>
                  <a:pt x="3804" y="356"/>
                </a:cubicBezTo>
                <a:cubicBezTo>
                  <a:pt x="3706" y="356"/>
                  <a:pt x="3706" y="356"/>
                  <a:pt x="3706" y="356"/>
                </a:cubicBezTo>
                <a:cubicBezTo>
                  <a:pt x="3662" y="278"/>
                  <a:pt x="3662" y="278"/>
                  <a:pt x="3662" y="278"/>
                </a:cubicBezTo>
                <a:cubicBezTo>
                  <a:pt x="3426" y="278"/>
                  <a:pt x="3426" y="278"/>
                  <a:pt x="3426" y="278"/>
                </a:cubicBezTo>
                <a:cubicBezTo>
                  <a:pt x="3381" y="356"/>
                  <a:pt x="3381" y="356"/>
                  <a:pt x="3381" y="356"/>
                </a:cubicBezTo>
                <a:cubicBezTo>
                  <a:pt x="3294" y="356"/>
                  <a:pt x="3294" y="356"/>
                  <a:pt x="3294" y="356"/>
                </a:cubicBezTo>
                <a:cubicBezTo>
                  <a:pt x="3506" y="0"/>
                  <a:pt x="3506" y="0"/>
                  <a:pt x="3506" y="0"/>
                </a:cubicBezTo>
                <a:lnTo>
                  <a:pt x="3589" y="0"/>
                </a:lnTo>
                <a:close/>
                <a:moveTo>
                  <a:pt x="3626" y="213"/>
                </a:moveTo>
                <a:cubicBezTo>
                  <a:pt x="3543" y="65"/>
                  <a:pt x="3543" y="65"/>
                  <a:pt x="3543" y="65"/>
                </a:cubicBezTo>
                <a:cubicBezTo>
                  <a:pt x="3463" y="213"/>
                  <a:pt x="3463" y="213"/>
                  <a:pt x="3463" y="213"/>
                </a:cubicBezTo>
                <a:lnTo>
                  <a:pt x="3626" y="213"/>
                </a:lnTo>
                <a:close/>
                <a:moveTo>
                  <a:pt x="7676" y="202"/>
                </a:moveTo>
                <a:cubicBezTo>
                  <a:pt x="7848" y="202"/>
                  <a:pt x="7848" y="202"/>
                  <a:pt x="7848" y="202"/>
                </a:cubicBezTo>
                <a:cubicBezTo>
                  <a:pt x="7848" y="141"/>
                  <a:pt x="7848" y="141"/>
                  <a:pt x="7848" y="141"/>
                </a:cubicBezTo>
                <a:cubicBezTo>
                  <a:pt x="7676" y="141"/>
                  <a:pt x="7676" y="141"/>
                  <a:pt x="7676" y="141"/>
                </a:cubicBezTo>
                <a:cubicBezTo>
                  <a:pt x="7676" y="63"/>
                  <a:pt x="7676" y="63"/>
                  <a:pt x="7676" y="63"/>
                </a:cubicBezTo>
                <a:cubicBezTo>
                  <a:pt x="7971" y="63"/>
                  <a:pt x="7971" y="63"/>
                  <a:pt x="7971" y="63"/>
                </a:cubicBezTo>
                <a:cubicBezTo>
                  <a:pt x="7971" y="0"/>
                  <a:pt x="7971" y="0"/>
                  <a:pt x="7971" y="0"/>
                </a:cubicBezTo>
                <a:cubicBezTo>
                  <a:pt x="7589" y="0"/>
                  <a:pt x="7589" y="0"/>
                  <a:pt x="7589" y="0"/>
                </a:cubicBezTo>
                <a:cubicBezTo>
                  <a:pt x="7589" y="356"/>
                  <a:pt x="7589" y="356"/>
                  <a:pt x="7589" y="356"/>
                </a:cubicBezTo>
                <a:cubicBezTo>
                  <a:pt x="7975" y="356"/>
                  <a:pt x="7975" y="356"/>
                  <a:pt x="7975" y="356"/>
                </a:cubicBezTo>
                <a:cubicBezTo>
                  <a:pt x="7975" y="290"/>
                  <a:pt x="7975" y="290"/>
                  <a:pt x="7975" y="290"/>
                </a:cubicBezTo>
                <a:cubicBezTo>
                  <a:pt x="7676" y="290"/>
                  <a:pt x="7676" y="290"/>
                  <a:pt x="7676" y="290"/>
                </a:cubicBezTo>
                <a:lnTo>
                  <a:pt x="7676" y="202"/>
                </a:lnTo>
                <a:close/>
                <a:moveTo>
                  <a:pt x="4164" y="221"/>
                </a:moveTo>
                <a:cubicBezTo>
                  <a:pt x="4334" y="356"/>
                  <a:pt x="4334" y="356"/>
                  <a:pt x="4334" y="356"/>
                </a:cubicBezTo>
                <a:cubicBezTo>
                  <a:pt x="4209" y="356"/>
                  <a:pt x="4209" y="356"/>
                  <a:pt x="4209" y="356"/>
                </a:cubicBezTo>
                <a:cubicBezTo>
                  <a:pt x="4060" y="221"/>
                  <a:pt x="4060" y="221"/>
                  <a:pt x="4060" y="221"/>
                </a:cubicBezTo>
                <a:cubicBezTo>
                  <a:pt x="3978" y="221"/>
                  <a:pt x="3978" y="221"/>
                  <a:pt x="3978" y="221"/>
                </a:cubicBezTo>
                <a:cubicBezTo>
                  <a:pt x="3978" y="356"/>
                  <a:pt x="3978" y="356"/>
                  <a:pt x="3978" y="356"/>
                </a:cubicBezTo>
                <a:cubicBezTo>
                  <a:pt x="3892" y="356"/>
                  <a:pt x="3892" y="356"/>
                  <a:pt x="3892" y="356"/>
                </a:cubicBezTo>
                <a:cubicBezTo>
                  <a:pt x="3892" y="0"/>
                  <a:pt x="3892" y="0"/>
                  <a:pt x="3892" y="0"/>
                </a:cubicBezTo>
                <a:cubicBezTo>
                  <a:pt x="4213" y="0"/>
                  <a:pt x="4213" y="0"/>
                  <a:pt x="4213" y="0"/>
                </a:cubicBezTo>
                <a:cubicBezTo>
                  <a:pt x="4270" y="0"/>
                  <a:pt x="4296" y="19"/>
                  <a:pt x="4296" y="69"/>
                </a:cubicBezTo>
                <a:cubicBezTo>
                  <a:pt x="4296" y="153"/>
                  <a:pt x="4296" y="153"/>
                  <a:pt x="4296" y="153"/>
                </a:cubicBezTo>
                <a:cubicBezTo>
                  <a:pt x="4296" y="202"/>
                  <a:pt x="4270" y="221"/>
                  <a:pt x="4213" y="221"/>
                </a:cubicBezTo>
                <a:lnTo>
                  <a:pt x="4164" y="221"/>
                </a:lnTo>
                <a:close/>
                <a:moveTo>
                  <a:pt x="4176" y="160"/>
                </a:moveTo>
                <a:cubicBezTo>
                  <a:pt x="4202" y="160"/>
                  <a:pt x="4216" y="155"/>
                  <a:pt x="4216" y="131"/>
                </a:cubicBezTo>
                <a:cubicBezTo>
                  <a:pt x="4216" y="90"/>
                  <a:pt x="4216" y="90"/>
                  <a:pt x="4216" y="90"/>
                </a:cubicBezTo>
                <a:cubicBezTo>
                  <a:pt x="4216" y="67"/>
                  <a:pt x="4202" y="61"/>
                  <a:pt x="4176" y="61"/>
                </a:cubicBezTo>
                <a:cubicBezTo>
                  <a:pt x="3978" y="61"/>
                  <a:pt x="3978" y="61"/>
                  <a:pt x="3978" y="61"/>
                </a:cubicBezTo>
                <a:cubicBezTo>
                  <a:pt x="3978" y="160"/>
                  <a:pt x="3978" y="160"/>
                  <a:pt x="3978" y="160"/>
                </a:cubicBezTo>
                <a:lnTo>
                  <a:pt x="4176" y="160"/>
                </a:lnTo>
                <a:close/>
                <a:moveTo>
                  <a:pt x="3015" y="0"/>
                </a:moveTo>
                <a:cubicBezTo>
                  <a:pt x="3230" y="356"/>
                  <a:pt x="3230" y="356"/>
                  <a:pt x="3230" y="356"/>
                </a:cubicBezTo>
                <a:cubicBezTo>
                  <a:pt x="3132" y="356"/>
                  <a:pt x="3132" y="356"/>
                  <a:pt x="3132" y="356"/>
                </a:cubicBezTo>
                <a:cubicBezTo>
                  <a:pt x="3088" y="278"/>
                  <a:pt x="3088" y="278"/>
                  <a:pt x="3088" y="278"/>
                </a:cubicBezTo>
                <a:cubicBezTo>
                  <a:pt x="2852" y="278"/>
                  <a:pt x="2852" y="278"/>
                  <a:pt x="2852" y="278"/>
                </a:cubicBezTo>
                <a:cubicBezTo>
                  <a:pt x="2807" y="356"/>
                  <a:pt x="2807" y="356"/>
                  <a:pt x="2807" y="356"/>
                </a:cubicBezTo>
                <a:cubicBezTo>
                  <a:pt x="2721" y="356"/>
                  <a:pt x="2721" y="356"/>
                  <a:pt x="2721" y="356"/>
                </a:cubicBezTo>
                <a:cubicBezTo>
                  <a:pt x="2932" y="0"/>
                  <a:pt x="2932" y="0"/>
                  <a:pt x="2932" y="0"/>
                </a:cubicBezTo>
                <a:lnTo>
                  <a:pt x="3015" y="0"/>
                </a:lnTo>
                <a:close/>
                <a:moveTo>
                  <a:pt x="3052" y="213"/>
                </a:moveTo>
                <a:cubicBezTo>
                  <a:pt x="2969" y="65"/>
                  <a:pt x="2969" y="65"/>
                  <a:pt x="2969" y="65"/>
                </a:cubicBezTo>
                <a:cubicBezTo>
                  <a:pt x="2889" y="213"/>
                  <a:pt x="2889" y="213"/>
                  <a:pt x="2889" y="213"/>
                </a:cubicBezTo>
                <a:lnTo>
                  <a:pt x="3052" y="213"/>
                </a:lnTo>
                <a:close/>
                <a:moveTo>
                  <a:pt x="7046" y="64"/>
                </a:moveTo>
                <a:cubicBezTo>
                  <a:pt x="7217" y="64"/>
                  <a:pt x="7217" y="64"/>
                  <a:pt x="7217" y="64"/>
                </a:cubicBezTo>
                <a:cubicBezTo>
                  <a:pt x="7217" y="356"/>
                  <a:pt x="7217" y="356"/>
                  <a:pt x="7217" y="356"/>
                </a:cubicBezTo>
                <a:cubicBezTo>
                  <a:pt x="7304" y="356"/>
                  <a:pt x="7304" y="356"/>
                  <a:pt x="7304" y="356"/>
                </a:cubicBezTo>
                <a:cubicBezTo>
                  <a:pt x="7304" y="64"/>
                  <a:pt x="7304" y="64"/>
                  <a:pt x="7304" y="64"/>
                </a:cubicBezTo>
                <a:cubicBezTo>
                  <a:pt x="7477" y="64"/>
                  <a:pt x="7477" y="64"/>
                  <a:pt x="7477" y="64"/>
                </a:cubicBezTo>
                <a:cubicBezTo>
                  <a:pt x="7477" y="0"/>
                  <a:pt x="7477" y="0"/>
                  <a:pt x="7477" y="0"/>
                </a:cubicBezTo>
                <a:cubicBezTo>
                  <a:pt x="7046" y="0"/>
                  <a:pt x="7046" y="0"/>
                  <a:pt x="7046" y="0"/>
                </a:cubicBezTo>
                <a:lnTo>
                  <a:pt x="704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1" name="Rectangle 8"/>
          <p:cNvSpPr>
            <a:spLocks noSelect="1" noChangeArrowheads="1"/>
          </p:cNvSpPr>
          <p:nvPr userDrawn="1"/>
        </p:nvSpPr>
        <p:spPr bwMode="gray">
          <a:xfrm>
            <a:off x="0" y="3429000"/>
            <a:ext cx="12189600" cy="3429000"/>
          </a:xfrm>
          <a:prstGeom prst="rect">
            <a:avLst/>
          </a:prstGeom>
          <a:solidFill>
            <a:schemeClr val="accent1"/>
          </a:solidFill>
          <a:ln>
            <a:noFill/>
          </a:ln>
          <a:effectLst/>
        </p:spPr>
        <p:txBody>
          <a:bodyPr wrap="none" anchor="ctr"/>
          <a:lstStyle/>
          <a:p>
            <a:pPr eaLnBrk="1" hangingPunct="1">
              <a:defRPr/>
            </a:pPr>
            <a:endParaRPr lang="nl-NL" sz="2142" dirty="0">
              <a:latin typeface="Arial Black" charset="0"/>
            </a:endParaRPr>
          </a:p>
        </p:txBody>
      </p:sp>
      <p:sp>
        <p:nvSpPr>
          <p:cNvPr id="2" name="***Titel 1"/>
          <p:cNvSpPr>
            <a:spLocks noGrp="1" noSelect="1"/>
          </p:cNvSpPr>
          <p:nvPr>
            <p:ph type="ctrTitle" hasCustomPrompt="1"/>
          </p:nvPr>
        </p:nvSpPr>
        <p:spPr bwMode="gray">
          <a:xfrm>
            <a:off x="1080000" y="3913999"/>
            <a:ext cx="10040516" cy="685952"/>
          </a:xfrm>
        </p:spPr>
        <p:txBody>
          <a:bodyPr anchor="t" anchorCtr="0"/>
          <a:lstStyle>
            <a:lvl1pPr algn="l">
              <a:defRPr sz="3600">
                <a:solidFill>
                  <a:schemeClr val="tx1"/>
                </a:solidFill>
              </a:defRPr>
            </a:lvl1pPr>
          </a:lstStyle>
          <a:p>
            <a:r>
              <a:rPr lang="nl-NL" noProof="1"/>
              <a:t>[Titel]</a:t>
            </a:r>
          </a:p>
        </p:txBody>
      </p:sp>
      <p:sp>
        <p:nvSpPr>
          <p:cNvPr id="3" name="Ondertitel 2"/>
          <p:cNvSpPr>
            <a:spLocks noGrp="1" noSelect="1"/>
          </p:cNvSpPr>
          <p:nvPr>
            <p:ph type="subTitle" idx="1" hasCustomPrompt="1"/>
          </p:nvPr>
        </p:nvSpPr>
        <p:spPr bwMode="gray">
          <a:xfrm>
            <a:off x="1080000" y="4863460"/>
            <a:ext cx="10029243" cy="546598"/>
          </a:xfrm>
        </p:spPr>
        <p:txBody>
          <a:bodyPr/>
          <a:lstStyle>
            <a:lvl1pPr marL="0" indent="0" algn="l">
              <a:buNone/>
              <a:defRPr>
                <a:solidFill>
                  <a:schemeClr val="tx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nl-NL" noProof="1"/>
              <a:t>[Subtitel]</a:t>
            </a:r>
          </a:p>
        </p:txBody>
      </p:sp>
      <p:sp>
        <p:nvSpPr>
          <p:cNvPr id="14" name="Tijdelijke aanduiding voor datum 13"/>
          <p:cNvSpPr>
            <a:spLocks noGrp="1" noSelect="1"/>
          </p:cNvSpPr>
          <p:nvPr>
            <p:ph type="dt" sz="half" idx="10"/>
          </p:nvPr>
        </p:nvSpPr>
        <p:spPr bwMode="gray"/>
        <p:txBody>
          <a:bodyPr/>
          <a:lstStyle/>
          <a:p>
            <a:fld id="{7BB60F3E-2C73-40A8-B0AB-89D26A81596F}" type="datetime4">
              <a:rPr lang="nl-NL" noProof="1" smtClean="0"/>
              <a:t>22 september 2022</a:t>
            </a:fld>
            <a:endParaRPr lang="nl-NL" noProof="1"/>
          </a:p>
        </p:txBody>
      </p:sp>
      <p:sp>
        <p:nvSpPr>
          <p:cNvPr id="4" name="Tijdelijke aanduiding voor voettekst 3"/>
          <p:cNvSpPr>
            <a:spLocks noGrp="1" noSelect="1"/>
          </p:cNvSpPr>
          <p:nvPr>
            <p:ph type="ftr" sz="quarter" idx="11"/>
          </p:nvPr>
        </p:nvSpPr>
        <p:spPr>
          <a:xfrm>
            <a:off x="1080000" y="2217600"/>
            <a:ext cx="10080000" cy="307765"/>
          </a:xfrm>
        </p:spPr>
        <p:txBody>
          <a:bodyPr/>
          <a:lstStyle/>
          <a:p>
            <a:r>
              <a:rPr lang="nl-NL" noProof="1"/>
              <a:t>[Plaats hier de aanduiding van het OM onderdeel]</a:t>
            </a:r>
          </a:p>
        </p:txBody>
      </p:sp>
      <p:sp>
        <p:nvSpPr>
          <p:cNvPr id="5" name="Rechthoek 4"/>
          <p:cNvSpPr>
            <a:spLocks noSelect="1"/>
          </p:cNvSpPr>
          <p:nvPr userDrawn="1"/>
        </p:nvSpPr>
        <p:spPr>
          <a:xfrm>
            <a:off x="-1285778" y="189362"/>
            <a:ext cx="1170156" cy="2520336"/>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nl-NL" sz="1000" dirty="0">
                <a:solidFill>
                  <a:schemeClr val="tx1"/>
                </a:solidFill>
              </a:rPr>
              <a:t>Via Invoegen | Koptekst en voettekst kan de datum, paginanummer en aanduiding</a:t>
            </a:r>
            <a:r>
              <a:rPr lang="nl-NL" sz="1000" baseline="0" dirty="0">
                <a:solidFill>
                  <a:schemeClr val="tx1"/>
                </a:solidFill>
              </a:rPr>
              <a:t> van het OM onderdeel geplaatst worden.</a:t>
            </a:r>
          </a:p>
          <a:p>
            <a:pPr algn="l"/>
            <a:endParaRPr lang="nl-NL" sz="1000" baseline="0" dirty="0">
              <a:solidFill>
                <a:schemeClr val="tx1"/>
              </a:solidFill>
            </a:endParaRPr>
          </a:p>
          <a:p>
            <a:pPr algn="l"/>
            <a:r>
              <a:rPr lang="nl-NL" sz="1000" baseline="0" dirty="0">
                <a:solidFill>
                  <a:schemeClr val="tx1"/>
                </a:solidFill>
              </a:rPr>
              <a:t>Dit instructie vak is niet te zien tijdens de presentatie.</a:t>
            </a:r>
            <a:endParaRPr lang="nl-NL" sz="1000" dirty="0">
              <a:solidFill>
                <a:schemeClr val="tx1"/>
              </a:solidFill>
            </a:endParaRPr>
          </a:p>
        </p:txBody>
      </p:sp>
      <p:sp>
        <p:nvSpPr>
          <p:cNvPr id="8" name="***Spreker"/>
          <p:cNvSpPr>
            <a:spLocks noGrp="1" noSelect="1"/>
          </p:cNvSpPr>
          <p:nvPr>
            <p:ph type="body" sz="quarter" idx="12" hasCustomPrompt="1"/>
          </p:nvPr>
        </p:nvSpPr>
        <p:spPr>
          <a:xfrm>
            <a:off x="1080000" y="720000"/>
            <a:ext cx="10080000" cy="457200"/>
          </a:xfrm>
        </p:spPr>
        <p:txBody>
          <a:bodyPr/>
          <a:lstStyle>
            <a:lvl1pPr marL="0" indent="0">
              <a:spcBef>
                <a:spcPts val="0"/>
              </a:spcBef>
              <a:spcAft>
                <a:spcPts val="0"/>
              </a:spcAft>
              <a:buNone/>
              <a:defRPr b="1" i="0"/>
            </a:lvl1pPr>
            <a:lvl2pPr marL="0" indent="0">
              <a:spcBef>
                <a:spcPts val="0"/>
              </a:spcBef>
              <a:spcAft>
                <a:spcPts val="0"/>
              </a:spcAft>
              <a:buNone/>
              <a:defRPr b="1" i="0"/>
            </a:lvl2pPr>
            <a:lvl3pPr marL="0" indent="0">
              <a:spcBef>
                <a:spcPts val="0"/>
              </a:spcBef>
              <a:spcAft>
                <a:spcPts val="0"/>
              </a:spcAft>
              <a:buNone/>
              <a:defRPr b="1" i="0"/>
            </a:lvl3pPr>
            <a:lvl4pPr marL="0" indent="0">
              <a:spcBef>
                <a:spcPts val="0"/>
              </a:spcBef>
              <a:spcAft>
                <a:spcPts val="0"/>
              </a:spcAft>
              <a:buFont typeface="Arial" panose="020B0604020202020204" pitchFamily="34" charset="0"/>
              <a:buNone/>
              <a:defRPr b="1" i="0"/>
            </a:lvl4pPr>
            <a:lvl5pPr marL="0" indent="0">
              <a:spcBef>
                <a:spcPts val="0"/>
              </a:spcBef>
              <a:spcAft>
                <a:spcPts val="0"/>
              </a:spcAft>
              <a:buFont typeface="Arial" panose="020B0604020202020204" pitchFamily="34" charset="0"/>
              <a:buNone/>
              <a:defRPr b="1" i="0"/>
            </a:lvl5pPr>
            <a:lvl6pPr marL="0" indent="0">
              <a:spcBef>
                <a:spcPts val="0"/>
              </a:spcBef>
              <a:spcAft>
                <a:spcPts val="0"/>
              </a:spcAft>
              <a:buFont typeface="Arial" panose="020B0604020202020204" pitchFamily="34" charset="0"/>
              <a:buNone/>
              <a:defRPr b="1" i="0"/>
            </a:lvl6pPr>
            <a:lvl7pPr marL="0" indent="0">
              <a:spcBef>
                <a:spcPts val="0"/>
              </a:spcBef>
              <a:spcAft>
                <a:spcPts val="0"/>
              </a:spcAft>
              <a:buFont typeface="Arial" panose="020B0604020202020204" pitchFamily="34" charset="0"/>
              <a:buNone/>
              <a:defRPr b="1" i="0"/>
            </a:lvl7pPr>
            <a:lvl8pPr marL="0" indent="0">
              <a:spcBef>
                <a:spcPts val="0"/>
              </a:spcBef>
              <a:spcAft>
                <a:spcPts val="0"/>
              </a:spcAft>
              <a:buFont typeface="Arial" panose="020B0604020202020204" pitchFamily="34" charset="0"/>
              <a:buNone/>
              <a:defRPr b="1" i="0"/>
            </a:lvl8pPr>
            <a:lvl9pPr marL="0" indent="0">
              <a:spcBef>
                <a:spcPts val="0"/>
              </a:spcBef>
              <a:spcAft>
                <a:spcPts val="0"/>
              </a:spcAft>
              <a:buFont typeface="Arial" panose="020B0604020202020204" pitchFamily="34" charset="0"/>
              <a:buNone/>
              <a:defRPr b="1" i="0"/>
            </a:lvl9pPr>
          </a:lstStyle>
          <a:p>
            <a:pPr lvl="0"/>
            <a:r>
              <a:rPr lang="nl-NL" dirty="0"/>
              <a:t>[Naam spreker]</a:t>
            </a:r>
          </a:p>
          <a:p>
            <a:pPr lvl="0"/>
            <a:endParaRPr lang="nl-NL" dirty="0"/>
          </a:p>
        </p:txBody>
      </p:sp>
    </p:spTree>
    <p:extLst>
      <p:ext uri="{BB962C8B-B14F-4D97-AF65-F5344CB8AC3E}">
        <p14:creationId xmlns:p14="http://schemas.microsoft.com/office/powerpoint/2010/main" val="35949316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2.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3.xml"/><Relationship Id="rId5" Type="http://schemas.openxmlformats.org/officeDocument/2006/relationships/slideLayout" Target="../slideLayouts/slideLayout13.xml"/><Relationship Id="rId10" Type="http://schemas.openxmlformats.org/officeDocument/2006/relationships/vmlDrawing" Target="../drawings/vmlDrawing2.vml"/><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3.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4.xml"/><Relationship Id="rId5" Type="http://schemas.openxmlformats.org/officeDocument/2006/relationships/slideLayout" Target="../slideLayouts/slideLayout21.xml"/><Relationship Id="rId10" Type="http://schemas.openxmlformats.org/officeDocument/2006/relationships/vmlDrawing" Target="../drawings/vmlDrawing3.vml"/><Relationship Id="rId4" Type="http://schemas.openxmlformats.org/officeDocument/2006/relationships/slideLayout" Target="../slideLayouts/slideLayout20.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479449E-83FF-4CC7-82F3-1CC9CE7045F0}"/>
              </a:ext>
            </a:extLst>
          </p:cNvPr>
          <p:cNvGraphicFramePr>
            <a:graphicFrameLocks noChangeAspect="1"/>
          </p:cNvGraphicFramePr>
          <p:nvPr userDrawn="1">
            <p:custDataLst>
              <p:tags r:id="rId11"/>
            </p:custDataLst>
            <p:extLst>
              <p:ext uri="{D42A27DB-BD31-4B8C-83A1-F6EECF244321}">
                <p14:modId xmlns:p14="http://schemas.microsoft.com/office/powerpoint/2010/main" val="260214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Slide" r:id="rId12" imgW="592" imgH="595" progId="TCLayout.ActiveDocument.1">
                  <p:embed/>
                </p:oleObj>
              </mc:Choice>
              <mc:Fallback>
                <p:oleObj name="think-cell Slide" r:id="rId12" imgW="592" imgH="595" progId="TCLayout.ActiveDocument.1">
                  <p:embed/>
                  <p:pic>
                    <p:nvPicPr>
                      <p:cNvPr id="5" name="Object 4" hidden="1">
                        <a:extLst>
                          <a:ext uri="{FF2B5EF4-FFF2-40B4-BE49-F238E27FC236}">
                            <a16:creationId xmlns:a16="http://schemas.microsoft.com/office/drawing/2014/main" id="{9479449E-83FF-4CC7-82F3-1CC9CE7045F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3" name="Rectangle 8"/>
          <p:cNvSpPr>
            <a:spLocks noSelect="1" noChangeArrowheads="1"/>
          </p:cNvSpPr>
          <p:nvPr userDrawn="1"/>
        </p:nvSpPr>
        <p:spPr bwMode="gray">
          <a:xfrm>
            <a:off x="0" y="1709738"/>
            <a:ext cx="12189600" cy="4248150"/>
          </a:xfrm>
          <a:prstGeom prst="rect">
            <a:avLst/>
          </a:prstGeom>
          <a:solidFill>
            <a:srgbClr val="DBF0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1" hangingPunct="1">
              <a:defRPr/>
            </a:pPr>
            <a:endParaRPr lang="nl-NL" sz="2142" dirty="0">
              <a:latin typeface="Arial Black" charset="0"/>
            </a:endParaRPr>
          </a:p>
        </p:txBody>
      </p:sp>
      <p:sp>
        <p:nvSpPr>
          <p:cNvPr id="2" name="Tijdelijke aanduiding voor titel 1"/>
          <p:cNvSpPr>
            <a:spLocks noGrp="1" noSelect="1"/>
          </p:cNvSpPr>
          <p:nvPr>
            <p:ph type="title"/>
          </p:nvPr>
        </p:nvSpPr>
        <p:spPr bwMode="gray">
          <a:xfrm>
            <a:off x="1081183" y="572872"/>
            <a:ext cx="10080000" cy="868556"/>
          </a:xfrm>
          <a:prstGeom prst="rect">
            <a:avLst/>
          </a:prstGeom>
        </p:spPr>
        <p:txBody>
          <a:bodyPr vert="horz" lIns="0" tIns="0" rIns="0" bIns="0" rtlCol="0" anchor="b">
            <a:noAutofit/>
          </a:bodyPr>
          <a:lstStyle/>
          <a:p>
            <a:r>
              <a:rPr lang="nl-NL" noProof="1"/>
              <a:t>Klik om de stijl te bewerken</a:t>
            </a:r>
          </a:p>
        </p:txBody>
      </p:sp>
      <p:sp>
        <p:nvSpPr>
          <p:cNvPr id="3" name="Tijdelijke aanduiding voor tekst 2 (JU-Free)"/>
          <p:cNvSpPr>
            <a:spLocks noGrp="1"/>
          </p:cNvSpPr>
          <p:nvPr>
            <p:ph type="body" idx="1"/>
          </p:nvPr>
        </p:nvSpPr>
        <p:spPr bwMode="gray">
          <a:xfrm>
            <a:off x="1080000" y="1895040"/>
            <a:ext cx="10080000" cy="3888000"/>
          </a:xfrm>
          <a:prstGeom prst="rect">
            <a:avLst/>
          </a:prstGeom>
        </p:spPr>
        <p:txBody>
          <a:bodyPr vert="horz" lIns="0" tIns="0" rIns="0" bIns="0" rtlCol="0">
            <a:noAutofit/>
          </a:bodyPr>
          <a:lstStyle/>
          <a:p>
            <a:pPr lvl="0"/>
            <a:r>
              <a:rPr lang="nl-NL" noProof="1"/>
              <a:t>JU-LEVEL1=Opsomming 1e niveauetuer adipiscing elit</a:t>
            </a:r>
          </a:p>
          <a:p>
            <a:pPr lvl="1"/>
            <a:r>
              <a:rPr lang="nl-NL" noProof="1"/>
              <a:t>JU-LEVEL2=Opsomming 2e niveau</a:t>
            </a:r>
          </a:p>
          <a:p>
            <a:pPr lvl="2"/>
            <a:r>
              <a:rPr lang="nl-NL" noProof="1"/>
              <a:t>JU-LEVEL3=Opsomming 3e niveau</a:t>
            </a:r>
          </a:p>
          <a:p>
            <a:pPr lvl="3"/>
            <a:r>
              <a:rPr lang="nl-NL" noProof="1"/>
              <a:t>JU-LEVEL4=Kop</a:t>
            </a:r>
          </a:p>
          <a:p>
            <a:pPr lvl="4"/>
            <a:r>
              <a:rPr lang="nl-NL" noProof="1"/>
              <a:t>JU-LEVEL5=Basistekst</a:t>
            </a:r>
          </a:p>
          <a:p>
            <a:pPr lvl="5"/>
            <a:r>
              <a:rPr lang="nl-NL" noProof="1"/>
              <a:t>JU-LEVEL6=Inspring 1e niveau</a:t>
            </a:r>
          </a:p>
          <a:p>
            <a:pPr lvl="6"/>
            <a:r>
              <a:rPr lang="nl-NL" noProof="1"/>
              <a:t>JU-LEVEL7=Inspring 2e niveau</a:t>
            </a:r>
          </a:p>
          <a:p>
            <a:pPr lvl="7"/>
            <a:r>
              <a:rPr lang="nl-NL" noProof="1"/>
              <a:t>JU-LEVEL8=Inspring 3e niveau</a:t>
            </a:r>
          </a:p>
          <a:p>
            <a:pPr lvl="8"/>
            <a:r>
              <a:rPr lang="nl-NL" noProof="1"/>
              <a:t>JU-LEVEL9=Basistekst cursief</a:t>
            </a:r>
          </a:p>
        </p:txBody>
      </p:sp>
      <p:sp>
        <p:nvSpPr>
          <p:cNvPr id="4" name="Tijdelijke aanduiding voor datum 3"/>
          <p:cNvSpPr>
            <a:spLocks noGrp="1" noSelect="1"/>
          </p:cNvSpPr>
          <p:nvPr>
            <p:ph type="dt" sz="half" idx="2"/>
          </p:nvPr>
        </p:nvSpPr>
        <p:spPr bwMode="gray">
          <a:xfrm>
            <a:off x="1080000" y="86390"/>
            <a:ext cx="2867209" cy="360000"/>
          </a:xfrm>
          <a:prstGeom prst="rect">
            <a:avLst/>
          </a:prstGeom>
        </p:spPr>
        <p:txBody>
          <a:bodyPr vert="horz" lIns="0" tIns="0" rIns="0" bIns="0" rtlCol="0" anchor="b">
            <a:noAutofit/>
          </a:bodyPr>
          <a:lstStyle>
            <a:lvl1pPr algn="l">
              <a:defRPr sz="1100">
                <a:solidFill>
                  <a:schemeClr val="tx1"/>
                </a:solidFill>
                <a:latin typeface="+mn-lt"/>
                <a:cs typeface="Arial" panose="020B0604020202020204" pitchFamily="34" charset="0"/>
              </a:defRPr>
            </a:lvl1pPr>
          </a:lstStyle>
          <a:p>
            <a:fld id="{B2199A0C-6E67-4506-84FA-63EFF30E4C8A}" type="datetime4">
              <a:rPr lang="nl-NL" noProof="1" smtClean="0"/>
              <a:t>22 september 2022</a:t>
            </a:fld>
            <a:endParaRPr lang="nl-NL" noProof="1"/>
          </a:p>
        </p:txBody>
      </p:sp>
      <p:sp>
        <p:nvSpPr>
          <p:cNvPr id="15" name="Rechthoek 14"/>
          <p:cNvSpPr>
            <a:spLocks noSelect="1"/>
          </p:cNvSpPr>
          <p:nvPr userDrawn="1"/>
        </p:nvSpPr>
        <p:spPr bwMode="gray">
          <a:xfrm>
            <a:off x="0" y="5955147"/>
            <a:ext cx="12189600" cy="450000"/>
          </a:xfrm>
          <a:prstGeom prst="rect">
            <a:avLst/>
          </a:prstGeom>
          <a:solidFill>
            <a:srgbClr val="001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6" name="Freeform 5"/>
          <p:cNvSpPr>
            <a:spLocks noSelect="1"/>
          </p:cNvSpPr>
          <p:nvPr userDrawn="1"/>
        </p:nvSpPr>
        <p:spPr bwMode="gray">
          <a:xfrm>
            <a:off x="1089025" y="6122997"/>
            <a:ext cx="2944813" cy="114300"/>
          </a:xfrm>
          <a:custGeom>
            <a:avLst/>
            <a:gdLst>
              <a:gd name="T0" fmla="*/ 6618 w 9279"/>
              <a:gd name="T1" fmla="*/ 356 h 356"/>
              <a:gd name="T2" fmla="*/ 6602 w 9279"/>
              <a:gd name="T3" fmla="*/ 290 h 356"/>
              <a:gd name="T4" fmla="*/ 6540 w 9279"/>
              <a:gd name="T5" fmla="*/ 124 h 356"/>
              <a:gd name="T6" fmla="*/ 6938 w 9279"/>
              <a:gd name="T7" fmla="*/ 78 h 356"/>
              <a:gd name="T8" fmla="*/ 6618 w 9279"/>
              <a:gd name="T9" fmla="*/ 64 h 356"/>
              <a:gd name="T10" fmla="*/ 8373 w 9279"/>
              <a:gd name="T11" fmla="*/ 222 h 356"/>
              <a:gd name="T12" fmla="*/ 8186 w 9279"/>
              <a:gd name="T13" fmla="*/ 222 h 356"/>
              <a:gd name="T14" fmla="*/ 8421 w 9279"/>
              <a:gd name="T15" fmla="*/ 0 h 356"/>
              <a:gd name="T16" fmla="*/ 8373 w 9279"/>
              <a:gd name="T17" fmla="*/ 222 h 356"/>
              <a:gd name="T18" fmla="*/ 8384 w 9279"/>
              <a:gd name="T19" fmla="*/ 61 h 356"/>
              <a:gd name="T20" fmla="*/ 2014 w 9279"/>
              <a:gd name="T21" fmla="*/ 237 h 356"/>
              <a:gd name="T22" fmla="*/ 1731 w 9279"/>
              <a:gd name="T23" fmla="*/ 356 h 356"/>
              <a:gd name="T24" fmla="*/ 2092 w 9279"/>
              <a:gd name="T25" fmla="*/ 0 h 356"/>
              <a:gd name="T26" fmla="*/ 2643 w 9279"/>
              <a:gd name="T27" fmla="*/ 286 h 356"/>
              <a:gd name="T28" fmla="*/ 2556 w 9279"/>
              <a:gd name="T29" fmla="*/ 0 h 356"/>
              <a:gd name="T30" fmla="*/ 2643 w 9279"/>
              <a:gd name="T31" fmla="*/ 241 h 356"/>
              <a:gd name="T32" fmla="*/ 2555 w 9279"/>
              <a:gd name="T33" fmla="*/ 83 h 356"/>
              <a:gd name="T34" fmla="*/ 2559 w 9279"/>
              <a:gd name="T35" fmla="*/ 233 h 356"/>
              <a:gd name="T36" fmla="*/ 2517 w 9279"/>
              <a:gd name="T37" fmla="*/ 292 h 356"/>
              <a:gd name="T38" fmla="*/ 8980 w 9279"/>
              <a:gd name="T39" fmla="*/ 202 h 356"/>
              <a:gd name="T40" fmla="*/ 8980 w 9279"/>
              <a:gd name="T41" fmla="*/ 63 h 356"/>
              <a:gd name="T42" fmla="*/ 8893 w 9279"/>
              <a:gd name="T43" fmla="*/ 356 h 356"/>
              <a:gd name="T44" fmla="*/ 1227 w 9279"/>
              <a:gd name="T45" fmla="*/ 202 h 356"/>
              <a:gd name="T46" fmla="*/ 1227 w 9279"/>
              <a:gd name="T47" fmla="*/ 63 h 356"/>
              <a:gd name="T48" fmla="*/ 1140 w 9279"/>
              <a:gd name="T49" fmla="*/ 356 h 356"/>
              <a:gd name="T50" fmla="*/ 1227 w 9279"/>
              <a:gd name="T51" fmla="*/ 202 h 356"/>
              <a:gd name="T52" fmla="*/ 93 w 9279"/>
              <a:gd name="T53" fmla="*/ 356 h 356"/>
              <a:gd name="T54" fmla="*/ 368 w 9279"/>
              <a:gd name="T55" fmla="*/ 0 h 356"/>
              <a:gd name="T56" fmla="*/ 87 w 9279"/>
              <a:gd name="T57" fmla="*/ 288 h 356"/>
              <a:gd name="T58" fmla="*/ 1015 w 9279"/>
              <a:gd name="T59" fmla="*/ 148 h 356"/>
              <a:gd name="T60" fmla="*/ 611 w 9279"/>
              <a:gd name="T61" fmla="*/ 356 h 356"/>
              <a:gd name="T62" fmla="*/ 934 w 9279"/>
              <a:gd name="T63" fmla="*/ 90 h 356"/>
              <a:gd name="T64" fmla="*/ 895 w 9279"/>
              <a:gd name="T65" fmla="*/ 156 h 356"/>
              <a:gd name="T66" fmla="*/ 8735 w 9279"/>
              <a:gd name="T67" fmla="*/ 356 h 356"/>
              <a:gd name="T68" fmla="*/ 6051 w 9279"/>
              <a:gd name="T69" fmla="*/ 237 h 356"/>
              <a:gd name="T70" fmla="*/ 5768 w 9279"/>
              <a:gd name="T71" fmla="*/ 356 h 356"/>
              <a:gd name="T72" fmla="*/ 6129 w 9279"/>
              <a:gd name="T73" fmla="*/ 0 h 356"/>
              <a:gd name="T74" fmla="*/ 5444 w 9279"/>
              <a:gd name="T75" fmla="*/ 178 h 356"/>
              <a:gd name="T76" fmla="*/ 5531 w 9279"/>
              <a:gd name="T77" fmla="*/ 178 h 356"/>
              <a:gd name="T78" fmla="*/ 6288 w 9279"/>
              <a:gd name="T79" fmla="*/ 356 h 356"/>
              <a:gd name="T80" fmla="*/ 6288 w 9279"/>
              <a:gd name="T81" fmla="*/ 356 h 356"/>
              <a:gd name="T82" fmla="*/ 4798 w 9279"/>
              <a:gd name="T83" fmla="*/ 356 h 356"/>
              <a:gd name="T84" fmla="*/ 5046 w 9279"/>
              <a:gd name="T85" fmla="*/ 313 h 356"/>
              <a:gd name="T86" fmla="*/ 5286 w 9279"/>
              <a:gd name="T87" fmla="*/ 0 h 356"/>
              <a:gd name="T88" fmla="*/ 3804 w 9279"/>
              <a:gd name="T89" fmla="*/ 356 h 356"/>
              <a:gd name="T90" fmla="*/ 3381 w 9279"/>
              <a:gd name="T91" fmla="*/ 356 h 356"/>
              <a:gd name="T92" fmla="*/ 3626 w 9279"/>
              <a:gd name="T93" fmla="*/ 213 h 356"/>
              <a:gd name="T94" fmla="*/ 7676 w 9279"/>
              <a:gd name="T95" fmla="*/ 202 h 356"/>
              <a:gd name="T96" fmla="*/ 7676 w 9279"/>
              <a:gd name="T97" fmla="*/ 63 h 356"/>
              <a:gd name="T98" fmla="*/ 7589 w 9279"/>
              <a:gd name="T99" fmla="*/ 356 h 356"/>
              <a:gd name="T100" fmla="*/ 7676 w 9279"/>
              <a:gd name="T101" fmla="*/ 202 h 356"/>
              <a:gd name="T102" fmla="*/ 4060 w 9279"/>
              <a:gd name="T103" fmla="*/ 221 h 356"/>
              <a:gd name="T104" fmla="*/ 3892 w 9279"/>
              <a:gd name="T105" fmla="*/ 0 h 356"/>
              <a:gd name="T106" fmla="*/ 4213 w 9279"/>
              <a:gd name="T107" fmla="*/ 221 h 356"/>
              <a:gd name="T108" fmla="*/ 4216 w 9279"/>
              <a:gd name="T109" fmla="*/ 90 h 356"/>
              <a:gd name="T110" fmla="*/ 4176 w 9279"/>
              <a:gd name="T111" fmla="*/ 160 h 356"/>
              <a:gd name="T112" fmla="*/ 3088 w 9279"/>
              <a:gd name="T113" fmla="*/ 278 h 356"/>
              <a:gd name="T114" fmla="*/ 2932 w 9279"/>
              <a:gd name="T115" fmla="*/ 0 h 356"/>
              <a:gd name="T116" fmla="*/ 2889 w 9279"/>
              <a:gd name="T117" fmla="*/ 213 h 356"/>
              <a:gd name="T118" fmla="*/ 7217 w 9279"/>
              <a:gd name="T119" fmla="*/ 356 h 356"/>
              <a:gd name="T120" fmla="*/ 7477 w 9279"/>
              <a:gd name="T121"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79" h="356">
                <a:moveTo>
                  <a:pt x="6942" y="223"/>
                </a:moveTo>
                <a:cubicBezTo>
                  <a:pt x="6942" y="272"/>
                  <a:pt x="6942" y="272"/>
                  <a:pt x="6942" y="272"/>
                </a:cubicBezTo>
                <a:cubicBezTo>
                  <a:pt x="6942" y="339"/>
                  <a:pt x="6920" y="356"/>
                  <a:pt x="6849" y="356"/>
                </a:cubicBezTo>
                <a:cubicBezTo>
                  <a:pt x="6618" y="356"/>
                  <a:pt x="6618" y="356"/>
                  <a:pt x="6618" y="356"/>
                </a:cubicBezTo>
                <a:cubicBezTo>
                  <a:pt x="6547" y="356"/>
                  <a:pt x="6524" y="339"/>
                  <a:pt x="6524" y="272"/>
                </a:cubicBezTo>
                <a:cubicBezTo>
                  <a:pt x="6524" y="262"/>
                  <a:pt x="6524" y="262"/>
                  <a:pt x="6524" y="262"/>
                </a:cubicBezTo>
                <a:cubicBezTo>
                  <a:pt x="6602" y="248"/>
                  <a:pt x="6602" y="248"/>
                  <a:pt x="6602" y="248"/>
                </a:cubicBezTo>
                <a:cubicBezTo>
                  <a:pt x="6602" y="290"/>
                  <a:pt x="6602" y="290"/>
                  <a:pt x="6602" y="290"/>
                </a:cubicBezTo>
                <a:cubicBezTo>
                  <a:pt x="6864" y="290"/>
                  <a:pt x="6864" y="290"/>
                  <a:pt x="6864" y="290"/>
                </a:cubicBezTo>
                <a:cubicBezTo>
                  <a:pt x="6864" y="208"/>
                  <a:pt x="6864" y="208"/>
                  <a:pt x="6864" y="208"/>
                </a:cubicBezTo>
                <a:cubicBezTo>
                  <a:pt x="6633" y="208"/>
                  <a:pt x="6633" y="208"/>
                  <a:pt x="6633" y="208"/>
                </a:cubicBezTo>
                <a:cubicBezTo>
                  <a:pt x="6563" y="208"/>
                  <a:pt x="6540" y="191"/>
                  <a:pt x="6540" y="124"/>
                </a:cubicBezTo>
                <a:cubicBezTo>
                  <a:pt x="6540" y="84"/>
                  <a:pt x="6540" y="84"/>
                  <a:pt x="6540" y="84"/>
                </a:cubicBezTo>
                <a:cubicBezTo>
                  <a:pt x="6540" y="17"/>
                  <a:pt x="6563" y="0"/>
                  <a:pt x="6633" y="0"/>
                </a:cubicBezTo>
                <a:cubicBezTo>
                  <a:pt x="6844" y="0"/>
                  <a:pt x="6844" y="0"/>
                  <a:pt x="6844" y="0"/>
                </a:cubicBezTo>
                <a:cubicBezTo>
                  <a:pt x="6910" y="0"/>
                  <a:pt x="6938" y="15"/>
                  <a:pt x="6938" y="78"/>
                </a:cubicBezTo>
                <a:cubicBezTo>
                  <a:pt x="6938" y="86"/>
                  <a:pt x="6938" y="86"/>
                  <a:pt x="6938" y="86"/>
                </a:cubicBezTo>
                <a:cubicBezTo>
                  <a:pt x="6863" y="102"/>
                  <a:pt x="6863" y="102"/>
                  <a:pt x="6863" y="102"/>
                </a:cubicBezTo>
                <a:cubicBezTo>
                  <a:pt x="6863" y="64"/>
                  <a:pt x="6863" y="64"/>
                  <a:pt x="6863" y="64"/>
                </a:cubicBezTo>
                <a:cubicBezTo>
                  <a:pt x="6618" y="64"/>
                  <a:pt x="6618" y="64"/>
                  <a:pt x="6618" y="64"/>
                </a:cubicBezTo>
                <a:cubicBezTo>
                  <a:pt x="6618" y="139"/>
                  <a:pt x="6618" y="139"/>
                  <a:pt x="6618" y="139"/>
                </a:cubicBezTo>
                <a:cubicBezTo>
                  <a:pt x="6849" y="139"/>
                  <a:pt x="6849" y="139"/>
                  <a:pt x="6849" y="139"/>
                </a:cubicBezTo>
                <a:cubicBezTo>
                  <a:pt x="6920" y="139"/>
                  <a:pt x="6942" y="156"/>
                  <a:pt x="6942" y="223"/>
                </a:cubicBezTo>
                <a:close/>
                <a:moveTo>
                  <a:pt x="8373" y="222"/>
                </a:moveTo>
                <a:cubicBezTo>
                  <a:pt x="8542" y="356"/>
                  <a:pt x="8542" y="356"/>
                  <a:pt x="8542" y="356"/>
                </a:cubicBezTo>
                <a:cubicBezTo>
                  <a:pt x="8417" y="356"/>
                  <a:pt x="8417" y="356"/>
                  <a:pt x="8417" y="356"/>
                </a:cubicBezTo>
                <a:cubicBezTo>
                  <a:pt x="8268" y="222"/>
                  <a:pt x="8268" y="222"/>
                  <a:pt x="8268" y="222"/>
                </a:cubicBezTo>
                <a:cubicBezTo>
                  <a:pt x="8186" y="222"/>
                  <a:pt x="8186" y="222"/>
                  <a:pt x="8186" y="222"/>
                </a:cubicBezTo>
                <a:cubicBezTo>
                  <a:pt x="8186" y="356"/>
                  <a:pt x="8186" y="356"/>
                  <a:pt x="8186" y="356"/>
                </a:cubicBezTo>
                <a:cubicBezTo>
                  <a:pt x="8101" y="356"/>
                  <a:pt x="8101" y="356"/>
                  <a:pt x="8101" y="356"/>
                </a:cubicBezTo>
                <a:cubicBezTo>
                  <a:pt x="8101" y="0"/>
                  <a:pt x="8101" y="0"/>
                  <a:pt x="8101" y="0"/>
                </a:cubicBezTo>
                <a:cubicBezTo>
                  <a:pt x="8421" y="0"/>
                  <a:pt x="8421" y="0"/>
                  <a:pt x="8421" y="0"/>
                </a:cubicBezTo>
                <a:cubicBezTo>
                  <a:pt x="8479" y="0"/>
                  <a:pt x="8505" y="19"/>
                  <a:pt x="8505" y="69"/>
                </a:cubicBezTo>
                <a:cubicBezTo>
                  <a:pt x="8505" y="153"/>
                  <a:pt x="8505" y="153"/>
                  <a:pt x="8505" y="153"/>
                </a:cubicBezTo>
                <a:cubicBezTo>
                  <a:pt x="8505" y="202"/>
                  <a:pt x="8479" y="222"/>
                  <a:pt x="8421" y="222"/>
                </a:cubicBezTo>
                <a:lnTo>
                  <a:pt x="8373" y="222"/>
                </a:lnTo>
                <a:close/>
                <a:moveTo>
                  <a:pt x="8384" y="160"/>
                </a:moveTo>
                <a:cubicBezTo>
                  <a:pt x="8410" y="160"/>
                  <a:pt x="8424" y="155"/>
                  <a:pt x="8424" y="131"/>
                </a:cubicBezTo>
                <a:cubicBezTo>
                  <a:pt x="8424" y="90"/>
                  <a:pt x="8424" y="90"/>
                  <a:pt x="8424" y="90"/>
                </a:cubicBezTo>
                <a:cubicBezTo>
                  <a:pt x="8424" y="67"/>
                  <a:pt x="8410" y="61"/>
                  <a:pt x="8384" y="61"/>
                </a:cubicBezTo>
                <a:cubicBezTo>
                  <a:pt x="8186" y="61"/>
                  <a:pt x="8186" y="61"/>
                  <a:pt x="8186" y="61"/>
                </a:cubicBezTo>
                <a:cubicBezTo>
                  <a:pt x="8186" y="160"/>
                  <a:pt x="8186" y="160"/>
                  <a:pt x="8186" y="160"/>
                </a:cubicBezTo>
                <a:lnTo>
                  <a:pt x="8384" y="160"/>
                </a:lnTo>
                <a:close/>
                <a:moveTo>
                  <a:pt x="2014" y="237"/>
                </a:moveTo>
                <a:cubicBezTo>
                  <a:pt x="1711" y="0"/>
                  <a:pt x="1711" y="0"/>
                  <a:pt x="1711" y="0"/>
                </a:cubicBezTo>
                <a:cubicBezTo>
                  <a:pt x="1652" y="0"/>
                  <a:pt x="1652" y="0"/>
                  <a:pt x="1652" y="0"/>
                </a:cubicBezTo>
                <a:cubicBezTo>
                  <a:pt x="1652" y="356"/>
                  <a:pt x="1652" y="356"/>
                  <a:pt x="1652" y="356"/>
                </a:cubicBezTo>
                <a:cubicBezTo>
                  <a:pt x="1731" y="356"/>
                  <a:pt x="1731" y="356"/>
                  <a:pt x="1731" y="356"/>
                </a:cubicBezTo>
                <a:cubicBezTo>
                  <a:pt x="1731" y="116"/>
                  <a:pt x="1731" y="116"/>
                  <a:pt x="1731" y="116"/>
                </a:cubicBezTo>
                <a:cubicBezTo>
                  <a:pt x="2032" y="356"/>
                  <a:pt x="2032" y="356"/>
                  <a:pt x="2032" y="356"/>
                </a:cubicBezTo>
                <a:cubicBezTo>
                  <a:pt x="2092" y="356"/>
                  <a:pt x="2092" y="356"/>
                  <a:pt x="2092" y="356"/>
                </a:cubicBezTo>
                <a:cubicBezTo>
                  <a:pt x="2092" y="0"/>
                  <a:pt x="2092" y="0"/>
                  <a:pt x="2092" y="0"/>
                </a:cubicBezTo>
                <a:cubicBezTo>
                  <a:pt x="2014" y="0"/>
                  <a:pt x="2014" y="0"/>
                  <a:pt x="2014" y="0"/>
                </a:cubicBezTo>
                <a:lnTo>
                  <a:pt x="2014" y="237"/>
                </a:lnTo>
                <a:close/>
                <a:moveTo>
                  <a:pt x="2643" y="241"/>
                </a:moveTo>
                <a:cubicBezTo>
                  <a:pt x="2643" y="286"/>
                  <a:pt x="2643" y="286"/>
                  <a:pt x="2643" y="286"/>
                </a:cubicBezTo>
                <a:cubicBezTo>
                  <a:pt x="2643" y="334"/>
                  <a:pt x="2606" y="356"/>
                  <a:pt x="2533" y="356"/>
                </a:cubicBezTo>
                <a:cubicBezTo>
                  <a:pt x="2236" y="356"/>
                  <a:pt x="2236" y="356"/>
                  <a:pt x="2236" y="356"/>
                </a:cubicBezTo>
                <a:cubicBezTo>
                  <a:pt x="2236" y="0"/>
                  <a:pt x="2236" y="0"/>
                  <a:pt x="2236" y="0"/>
                </a:cubicBezTo>
                <a:cubicBezTo>
                  <a:pt x="2556" y="0"/>
                  <a:pt x="2556" y="0"/>
                  <a:pt x="2556" y="0"/>
                </a:cubicBezTo>
                <a:cubicBezTo>
                  <a:pt x="2613" y="0"/>
                  <a:pt x="2640" y="19"/>
                  <a:pt x="2640" y="69"/>
                </a:cubicBezTo>
                <a:cubicBezTo>
                  <a:pt x="2640" y="112"/>
                  <a:pt x="2640" y="112"/>
                  <a:pt x="2640" y="112"/>
                </a:cubicBezTo>
                <a:cubicBezTo>
                  <a:pt x="2640" y="145"/>
                  <a:pt x="2619" y="166"/>
                  <a:pt x="2580" y="173"/>
                </a:cubicBezTo>
                <a:cubicBezTo>
                  <a:pt x="2620" y="179"/>
                  <a:pt x="2643" y="205"/>
                  <a:pt x="2643" y="241"/>
                </a:cubicBezTo>
                <a:close/>
                <a:moveTo>
                  <a:pt x="2322" y="142"/>
                </a:moveTo>
                <a:cubicBezTo>
                  <a:pt x="2517" y="142"/>
                  <a:pt x="2517" y="142"/>
                  <a:pt x="2517" y="142"/>
                </a:cubicBezTo>
                <a:cubicBezTo>
                  <a:pt x="2543" y="142"/>
                  <a:pt x="2555" y="138"/>
                  <a:pt x="2555" y="117"/>
                </a:cubicBezTo>
                <a:cubicBezTo>
                  <a:pt x="2555" y="83"/>
                  <a:pt x="2555" y="83"/>
                  <a:pt x="2555" y="83"/>
                </a:cubicBezTo>
                <a:cubicBezTo>
                  <a:pt x="2555" y="62"/>
                  <a:pt x="2544" y="58"/>
                  <a:pt x="2517" y="58"/>
                </a:cubicBezTo>
                <a:cubicBezTo>
                  <a:pt x="2322" y="58"/>
                  <a:pt x="2322" y="58"/>
                  <a:pt x="2322" y="58"/>
                </a:cubicBezTo>
                <a:lnTo>
                  <a:pt x="2322" y="142"/>
                </a:lnTo>
                <a:close/>
                <a:moveTo>
                  <a:pt x="2559" y="233"/>
                </a:moveTo>
                <a:cubicBezTo>
                  <a:pt x="2559" y="207"/>
                  <a:pt x="2546" y="201"/>
                  <a:pt x="2517" y="201"/>
                </a:cubicBezTo>
                <a:cubicBezTo>
                  <a:pt x="2322" y="201"/>
                  <a:pt x="2322" y="201"/>
                  <a:pt x="2322" y="201"/>
                </a:cubicBezTo>
                <a:cubicBezTo>
                  <a:pt x="2322" y="292"/>
                  <a:pt x="2322" y="292"/>
                  <a:pt x="2322" y="292"/>
                </a:cubicBezTo>
                <a:cubicBezTo>
                  <a:pt x="2517" y="292"/>
                  <a:pt x="2517" y="292"/>
                  <a:pt x="2517" y="292"/>
                </a:cubicBezTo>
                <a:cubicBezTo>
                  <a:pt x="2546" y="292"/>
                  <a:pt x="2559" y="286"/>
                  <a:pt x="2559" y="260"/>
                </a:cubicBezTo>
                <a:lnTo>
                  <a:pt x="2559" y="233"/>
                </a:lnTo>
                <a:close/>
                <a:moveTo>
                  <a:pt x="8980" y="290"/>
                </a:moveTo>
                <a:cubicBezTo>
                  <a:pt x="8980" y="202"/>
                  <a:pt x="8980" y="202"/>
                  <a:pt x="8980" y="202"/>
                </a:cubicBezTo>
                <a:cubicBezTo>
                  <a:pt x="9152" y="202"/>
                  <a:pt x="9152" y="202"/>
                  <a:pt x="9152" y="202"/>
                </a:cubicBezTo>
                <a:cubicBezTo>
                  <a:pt x="9152" y="141"/>
                  <a:pt x="9152" y="141"/>
                  <a:pt x="9152" y="141"/>
                </a:cubicBezTo>
                <a:cubicBezTo>
                  <a:pt x="8980" y="141"/>
                  <a:pt x="8980" y="141"/>
                  <a:pt x="8980" y="141"/>
                </a:cubicBezTo>
                <a:cubicBezTo>
                  <a:pt x="8980" y="63"/>
                  <a:pt x="8980" y="63"/>
                  <a:pt x="8980" y="63"/>
                </a:cubicBezTo>
                <a:cubicBezTo>
                  <a:pt x="9275" y="63"/>
                  <a:pt x="9275" y="63"/>
                  <a:pt x="9275" y="63"/>
                </a:cubicBezTo>
                <a:cubicBezTo>
                  <a:pt x="9275" y="0"/>
                  <a:pt x="9275" y="0"/>
                  <a:pt x="9275" y="0"/>
                </a:cubicBezTo>
                <a:cubicBezTo>
                  <a:pt x="8893" y="0"/>
                  <a:pt x="8893" y="0"/>
                  <a:pt x="8893" y="0"/>
                </a:cubicBezTo>
                <a:cubicBezTo>
                  <a:pt x="8893" y="356"/>
                  <a:pt x="8893" y="356"/>
                  <a:pt x="8893" y="356"/>
                </a:cubicBezTo>
                <a:cubicBezTo>
                  <a:pt x="9279" y="356"/>
                  <a:pt x="9279" y="356"/>
                  <a:pt x="9279" y="356"/>
                </a:cubicBezTo>
                <a:cubicBezTo>
                  <a:pt x="9279" y="290"/>
                  <a:pt x="9279" y="290"/>
                  <a:pt x="9279" y="290"/>
                </a:cubicBezTo>
                <a:lnTo>
                  <a:pt x="8980" y="290"/>
                </a:lnTo>
                <a:close/>
                <a:moveTo>
                  <a:pt x="1227" y="202"/>
                </a:moveTo>
                <a:cubicBezTo>
                  <a:pt x="1399" y="202"/>
                  <a:pt x="1399" y="202"/>
                  <a:pt x="1399" y="202"/>
                </a:cubicBezTo>
                <a:cubicBezTo>
                  <a:pt x="1399" y="141"/>
                  <a:pt x="1399" y="141"/>
                  <a:pt x="1399" y="141"/>
                </a:cubicBezTo>
                <a:cubicBezTo>
                  <a:pt x="1227" y="141"/>
                  <a:pt x="1227" y="141"/>
                  <a:pt x="1227" y="141"/>
                </a:cubicBezTo>
                <a:cubicBezTo>
                  <a:pt x="1227" y="63"/>
                  <a:pt x="1227" y="63"/>
                  <a:pt x="1227" y="63"/>
                </a:cubicBezTo>
                <a:cubicBezTo>
                  <a:pt x="1522" y="63"/>
                  <a:pt x="1522" y="63"/>
                  <a:pt x="1522" y="63"/>
                </a:cubicBezTo>
                <a:cubicBezTo>
                  <a:pt x="1522" y="0"/>
                  <a:pt x="1522" y="0"/>
                  <a:pt x="1522" y="0"/>
                </a:cubicBezTo>
                <a:cubicBezTo>
                  <a:pt x="1140" y="0"/>
                  <a:pt x="1140" y="0"/>
                  <a:pt x="1140" y="0"/>
                </a:cubicBezTo>
                <a:cubicBezTo>
                  <a:pt x="1140" y="356"/>
                  <a:pt x="1140" y="356"/>
                  <a:pt x="1140" y="356"/>
                </a:cubicBezTo>
                <a:cubicBezTo>
                  <a:pt x="1526" y="356"/>
                  <a:pt x="1526" y="356"/>
                  <a:pt x="1526" y="356"/>
                </a:cubicBezTo>
                <a:cubicBezTo>
                  <a:pt x="1526" y="290"/>
                  <a:pt x="1526" y="290"/>
                  <a:pt x="1526" y="290"/>
                </a:cubicBezTo>
                <a:cubicBezTo>
                  <a:pt x="1227" y="290"/>
                  <a:pt x="1227" y="290"/>
                  <a:pt x="1227" y="290"/>
                </a:cubicBezTo>
                <a:lnTo>
                  <a:pt x="1227" y="202"/>
                </a:lnTo>
                <a:close/>
                <a:moveTo>
                  <a:pt x="461" y="84"/>
                </a:moveTo>
                <a:cubicBezTo>
                  <a:pt x="461" y="272"/>
                  <a:pt x="461" y="272"/>
                  <a:pt x="461" y="272"/>
                </a:cubicBezTo>
                <a:cubicBezTo>
                  <a:pt x="461" y="339"/>
                  <a:pt x="438" y="356"/>
                  <a:pt x="368" y="356"/>
                </a:cubicBezTo>
                <a:cubicBezTo>
                  <a:pt x="93" y="356"/>
                  <a:pt x="93" y="356"/>
                  <a:pt x="93" y="356"/>
                </a:cubicBezTo>
                <a:cubicBezTo>
                  <a:pt x="22" y="356"/>
                  <a:pt x="0" y="339"/>
                  <a:pt x="0" y="272"/>
                </a:cubicBezTo>
                <a:cubicBezTo>
                  <a:pt x="0" y="84"/>
                  <a:pt x="0" y="84"/>
                  <a:pt x="0" y="84"/>
                </a:cubicBezTo>
                <a:cubicBezTo>
                  <a:pt x="0" y="16"/>
                  <a:pt x="23" y="0"/>
                  <a:pt x="93" y="0"/>
                </a:cubicBezTo>
                <a:cubicBezTo>
                  <a:pt x="368" y="0"/>
                  <a:pt x="368" y="0"/>
                  <a:pt x="368" y="0"/>
                </a:cubicBezTo>
                <a:cubicBezTo>
                  <a:pt x="438" y="0"/>
                  <a:pt x="461" y="16"/>
                  <a:pt x="461" y="84"/>
                </a:cubicBezTo>
                <a:close/>
                <a:moveTo>
                  <a:pt x="374" y="66"/>
                </a:moveTo>
                <a:cubicBezTo>
                  <a:pt x="87" y="66"/>
                  <a:pt x="87" y="66"/>
                  <a:pt x="87" y="66"/>
                </a:cubicBezTo>
                <a:cubicBezTo>
                  <a:pt x="87" y="288"/>
                  <a:pt x="87" y="288"/>
                  <a:pt x="87" y="288"/>
                </a:cubicBezTo>
                <a:cubicBezTo>
                  <a:pt x="374" y="288"/>
                  <a:pt x="374" y="288"/>
                  <a:pt x="374" y="288"/>
                </a:cubicBezTo>
                <a:lnTo>
                  <a:pt x="374" y="66"/>
                </a:lnTo>
                <a:close/>
                <a:moveTo>
                  <a:pt x="1015" y="69"/>
                </a:moveTo>
                <a:cubicBezTo>
                  <a:pt x="1015" y="148"/>
                  <a:pt x="1015" y="148"/>
                  <a:pt x="1015" y="148"/>
                </a:cubicBezTo>
                <a:cubicBezTo>
                  <a:pt x="1015" y="198"/>
                  <a:pt x="989" y="217"/>
                  <a:pt x="932" y="217"/>
                </a:cubicBezTo>
                <a:cubicBezTo>
                  <a:pt x="697" y="217"/>
                  <a:pt x="697" y="217"/>
                  <a:pt x="697" y="217"/>
                </a:cubicBezTo>
                <a:cubicBezTo>
                  <a:pt x="697" y="356"/>
                  <a:pt x="697" y="356"/>
                  <a:pt x="697" y="356"/>
                </a:cubicBezTo>
                <a:cubicBezTo>
                  <a:pt x="611" y="356"/>
                  <a:pt x="611" y="356"/>
                  <a:pt x="611" y="356"/>
                </a:cubicBezTo>
                <a:cubicBezTo>
                  <a:pt x="611" y="0"/>
                  <a:pt x="611" y="0"/>
                  <a:pt x="611" y="0"/>
                </a:cubicBezTo>
                <a:cubicBezTo>
                  <a:pt x="932" y="0"/>
                  <a:pt x="932" y="0"/>
                  <a:pt x="932" y="0"/>
                </a:cubicBezTo>
                <a:cubicBezTo>
                  <a:pt x="989" y="0"/>
                  <a:pt x="1015" y="19"/>
                  <a:pt x="1015" y="69"/>
                </a:cubicBezTo>
                <a:close/>
                <a:moveTo>
                  <a:pt x="934" y="90"/>
                </a:moveTo>
                <a:cubicBezTo>
                  <a:pt x="934" y="67"/>
                  <a:pt x="921" y="61"/>
                  <a:pt x="895" y="61"/>
                </a:cubicBezTo>
                <a:cubicBezTo>
                  <a:pt x="697" y="61"/>
                  <a:pt x="697" y="61"/>
                  <a:pt x="697" y="61"/>
                </a:cubicBezTo>
                <a:cubicBezTo>
                  <a:pt x="697" y="156"/>
                  <a:pt x="697" y="156"/>
                  <a:pt x="697" y="156"/>
                </a:cubicBezTo>
                <a:cubicBezTo>
                  <a:pt x="895" y="156"/>
                  <a:pt x="895" y="156"/>
                  <a:pt x="895" y="156"/>
                </a:cubicBezTo>
                <a:cubicBezTo>
                  <a:pt x="921" y="156"/>
                  <a:pt x="934" y="151"/>
                  <a:pt x="934" y="127"/>
                </a:cubicBezTo>
                <a:lnTo>
                  <a:pt x="934" y="90"/>
                </a:lnTo>
                <a:close/>
                <a:moveTo>
                  <a:pt x="8648" y="356"/>
                </a:moveTo>
                <a:cubicBezTo>
                  <a:pt x="8735" y="356"/>
                  <a:pt x="8735" y="356"/>
                  <a:pt x="8735" y="356"/>
                </a:cubicBezTo>
                <a:cubicBezTo>
                  <a:pt x="8735" y="0"/>
                  <a:pt x="8735" y="0"/>
                  <a:pt x="8735" y="0"/>
                </a:cubicBezTo>
                <a:cubicBezTo>
                  <a:pt x="8648" y="0"/>
                  <a:pt x="8648" y="0"/>
                  <a:pt x="8648" y="0"/>
                </a:cubicBezTo>
                <a:lnTo>
                  <a:pt x="8648" y="356"/>
                </a:lnTo>
                <a:close/>
                <a:moveTo>
                  <a:pt x="6051" y="237"/>
                </a:moveTo>
                <a:cubicBezTo>
                  <a:pt x="5749" y="0"/>
                  <a:pt x="5749" y="0"/>
                  <a:pt x="5749" y="0"/>
                </a:cubicBezTo>
                <a:cubicBezTo>
                  <a:pt x="5689" y="0"/>
                  <a:pt x="5689" y="0"/>
                  <a:pt x="5689" y="0"/>
                </a:cubicBezTo>
                <a:cubicBezTo>
                  <a:pt x="5689" y="356"/>
                  <a:pt x="5689" y="356"/>
                  <a:pt x="5689" y="356"/>
                </a:cubicBezTo>
                <a:cubicBezTo>
                  <a:pt x="5768" y="356"/>
                  <a:pt x="5768" y="356"/>
                  <a:pt x="5768" y="356"/>
                </a:cubicBezTo>
                <a:cubicBezTo>
                  <a:pt x="5768" y="116"/>
                  <a:pt x="5768" y="116"/>
                  <a:pt x="5768" y="116"/>
                </a:cubicBezTo>
                <a:cubicBezTo>
                  <a:pt x="6070" y="356"/>
                  <a:pt x="6070" y="356"/>
                  <a:pt x="6070" y="356"/>
                </a:cubicBezTo>
                <a:cubicBezTo>
                  <a:pt x="6129" y="356"/>
                  <a:pt x="6129" y="356"/>
                  <a:pt x="6129" y="356"/>
                </a:cubicBezTo>
                <a:cubicBezTo>
                  <a:pt x="6129" y="0"/>
                  <a:pt x="6129" y="0"/>
                  <a:pt x="6129" y="0"/>
                </a:cubicBezTo>
                <a:cubicBezTo>
                  <a:pt x="6051" y="0"/>
                  <a:pt x="6051" y="0"/>
                  <a:pt x="6051" y="0"/>
                </a:cubicBezTo>
                <a:lnTo>
                  <a:pt x="6051" y="237"/>
                </a:lnTo>
                <a:close/>
                <a:moveTo>
                  <a:pt x="5444" y="0"/>
                </a:moveTo>
                <a:cubicBezTo>
                  <a:pt x="5444" y="178"/>
                  <a:pt x="5444" y="178"/>
                  <a:pt x="5444" y="178"/>
                </a:cubicBezTo>
                <a:cubicBezTo>
                  <a:pt x="5444" y="356"/>
                  <a:pt x="5444" y="356"/>
                  <a:pt x="5444" y="356"/>
                </a:cubicBezTo>
                <a:cubicBezTo>
                  <a:pt x="5487" y="356"/>
                  <a:pt x="5487" y="356"/>
                  <a:pt x="5487" y="356"/>
                </a:cubicBezTo>
                <a:cubicBezTo>
                  <a:pt x="5531" y="356"/>
                  <a:pt x="5531" y="356"/>
                  <a:pt x="5531" y="356"/>
                </a:cubicBezTo>
                <a:cubicBezTo>
                  <a:pt x="5531" y="178"/>
                  <a:pt x="5531" y="178"/>
                  <a:pt x="5531" y="178"/>
                </a:cubicBezTo>
                <a:cubicBezTo>
                  <a:pt x="5531" y="0"/>
                  <a:pt x="5531" y="0"/>
                  <a:pt x="5531" y="0"/>
                </a:cubicBezTo>
                <a:cubicBezTo>
                  <a:pt x="5531" y="0"/>
                  <a:pt x="5531" y="0"/>
                  <a:pt x="5531" y="0"/>
                </a:cubicBezTo>
                <a:cubicBezTo>
                  <a:pt x="5444" y="0"/>
                  <a:pt x="5444" y="0"/>
                  <a:pt x="5444" y="0"/>
                </a:cubicBezTo>
                <a:close/>
                <a:moveTo>
                  <a:pt x="6288" y="356"/>
                </a:moveTo>
                <a:cubicBezTo>
                  <a:pt x="6375" y="356"/>
                  <a:pt x="6375" y="356"/>
                  <a:pt x="6375" y="356"/>
                </a:cubicBezTo>
                <a:cubicBezTo>
                  <a:pt x="6375" y="0"/>
                  <a:pt x="6375" y="0"/>
                  <a:pt x="6375" y="0"/>
                </a:cubicBezTo>
                <a:cubicBezTo>
                  <a:pt x="6288" y="0"/>
                  <a:pt x="6288" y="0"/>
                  <a:pt x="6288" y="0"/>
                </a:cubicBezTo>
                <a:lnTo>
                  <a:pt x="6288" y="356"/>
                </a:lnTo>
                <a:close/>
                <a:moveTo>
                  <a:pt x="5042" y="211"/>
                </a:moveTo>
                <a:cubicBezTo>
                  <a:pt x="4868" y="0"/>
                  <a:pt x="4868" y="0"/>
                  <a:pt x="4868" y="0"/>
                </a:cubicBezTo>
                <a:cubicBezTo>
                  <a:pt x="4798" y="0"/>
                  <a:pt x="4798" y="0"/>
                  <a:pt x="4798" y="0"/>
                </a:cubicBezTo>
                <a:cubicBezTo>
                  <a:pt x="4798" y="356"/>
                  <a:pt x="4798" y="356"/>
                  <a:pt x="4798" y="356"/>
                </a:cubicBezTo>
                <a:cubicBezTo>
                  <a:pt x="4868" y="356"/>
                  <a:pt x="4868" y="356"/>
                  <a:pt x="4868" y="356"/>
                </a:cubicBezTo>
                <a:cubicBezTo>
                  <a:pt x="4868" y="117"/>
                  <a:pt x="4868" y="117"/>
                  <a:pt x="4868" y="117"/>
                </a:cubicBezTo>
                <a:cubicBezTo>
                  <a:pt x="5029" y="313"/>
                  <a:pt x="5029" y="313"/>
                  <a:pt x="5029" y="313"/>
                </a:cubicBezTo>
                <a:cubicBezTo>
                  <a:pt x="5046" y="313"/>
                  <a:pt x="5046" y="313"/>
                  <a:pt x="5046" y="313"/>
                </a:cubicBezTo>
                <a:cubicBezTo>
                  <a:pt x="5205" y="111"/>
                  <a:pt x="5205" y="111"/>
                  <a:pt x="5205" y="111"/>
                </a:cubicBezTo>
                <a:cubicBezTo>
                  <a:pt x="5205" y="356"/>
                  <a:pt x="5205" y="356"/>
                  <a:pt x="5205" y="356"/>
                </a:cubicBezTo>
                <a:cubicBezTo>
                  <a:pt x="5286" y="356"/>
                  <a:pt x="5286" y="356"/>
                  <a:pt x="5286" y="356"/>
                </a:cubicBezTo>
                <a:cubicBezTo>
                  <a:pt x="5286" y="0"/>
                  <a:pt x="5286" y="0"/>
                  <a:pt x="5286" y="0"/>
                </a:cubicBezTo>
                <a:cubicBezTo>
                  <a:pt x="5216" y="0"/>
                  <a:pt x="5216" y="0"/>
                  <a:pt x="5216" y="0"/>
                </a:cubicBezTo>
                <a:lnTo>
                  <a:pt x="5042" y="211"/>
                </a:lnTo>
                <a:close/>
                <a:moveTo>
                  <a:pt x="3589" y="0"/>
                </a:moveTo>
                <a:cubicBezTo>
                  <a:pt x="3804" y="356"/>
                  <a:pt x="3804" y="356"/>
                  <a:pt x="3804" y="356"/>
                </a:cubicBezTo>
                <a:cubicBezTo>
                  <a:pt x="3706" y="356"/>
                  <a:pt x="3706" y="356"/>
                  <a:pt x="3706" y="356"/>
                </a:cubicBezTo>
                <a:cubicBezTo>
                  <a:pt x="3662" y="278"/>
                  <a:pt x="3662" y="278"/>
                  <a:pt x="3662" y="278"/>
                </a:cubicBezTo>
                <a:cubicBezTo>
                  <a:pt x="3426" y="278"/>
                  <a:pt x="3426" y="278"/>
                  <a:pt x="3426" y="278"/>
                </a:cubicBezTo>
                <a:cubicBezTo>
                  <a:pt x="3381" y="356"/>
                  <a:pt x="3381" y="356"/>
                  <a:pt x="3381" y="356"/>
                </a:cubicBezTo>
                <a:cubicBezTo>
                  <a:pt x="3294" y="356"/>
                  <a:pt x="3294" y="356"/>
                  <a:pt x="3294" y="356"/>
                </a:cubicBezTo>
                <a:cubicBezTo>
                  <a:pt x="3506" y="0"/>
                  <a:pt x="3506" y="0"/>
                  <a:pt x="3506" y="0"/>
                </a:cubicBezTo>
                <a:lnTo>
                  <a:pt x="3589" y="0"/>
                </a:lnTo>
                <a:close/>
                <a:moveTo>
                  <a:pt x="3626" y="213"/>
                </a:moveTo>
                <a:cubicBezTo>
                  <a:pt x="3543" y="65"/>
                  <a:pt x="3543" y="65"/>
                  <a:pt x="3543" y="65"/>
                </a:cubicBezTo>
                <a:cubicBezTo>
                  <a:pt x="3463" y="213"/>
                  <a:pt x="3463" y="213"/>
                  <a:pt x="3463" y="213"/>
                </a:cubicBezTo>
                <a:lnTo>
                  <a:pt x="3626" y="213"/>
                </a:lnTo>
                <a:close/>
                <a:moveTo>
                  <a:pt x="7676" y="202"/>
                </a:moveTo>
                <a:cubicBezTo>
                  <a:pt x="7848" y="202"/>
                  <a:pt x="7848" y="202"/>
                  <a:pt x="7848" y="202"/>
                </a:cubicBezTo>
                <a:cubicBezTo>
                  <a:pt x="7848" y="141"/>
                  <a:pt x="7848" y="141"/>
                  <a:pt x="7848" y="141"/>
                </a:cubicBezTo>
                <a:cubicBezTo>
                  <a:pt x="7676" y="141"/>
                  <a:pt x="7676" y="141"/>
                  <a:pt x="7676" y="141"/>
                </a:cubicBezTo>
                <a:cubicBezTo>
                  <a:pt x="7676" y="63"/>
                  <a:pt x="7676" y="63"/>
                  <a:pt x="7676" y="63"/>
                </a:cubicBezTo>
                <a:cubicBezTo>
                  <a:pt x="7971" y="63"/>
                  <a:pt x="7971" y="63"/>
                  <a:pt x="7971" y="63"/>
                </a:cubicBezTo>
                <a:cubicBezTo>
                  <a:pt x="7971" y="0"/>
                  <a:pt x="7971" y="0"/>
                  <a:pt x="7971" y="0"/>
                </a:cubicBezTo>
                <a:cubicBezTo>
                  <a:pt x="7589" y="0"/>
                  <a:pt x="7589" y="0"/>
                  <a:pt x="7589" y="0"/>
                </a:cubicBezTo>
                <a:cubicBezTo>
                  <a:pt x="7589" y="356"/>
                  <a:pt x="7589" y="356"/>
                  <a:pt x="7589" y="356"/>
                </a:cubicBezTo>
                <a:cubicBezTo>
                  <a:pt x="7975" y="356"/>
                  <a:pt x="7975" y="356"/>
                  <a:pt x="7975" y="356"/>
                </a:cubicBezTo>
                <a:cubicBezTo>
                  <a:pt x="7975" y="290"/>
                  <a:pt x="7975" y="290"/>
                  <a:pt x="7975" y="290"/>
                </a:cubicBezTo>
                <a:cubicBezTo>
                  <a:pt x="7676" y="290"/>
                  <a:pt x="7676" y="290"/>
                  <a:pt x="7676" y="290"/>
                </a:cubicBezTo>
                <a:lnTo>
                  <a:pt x="7676" y="202"/>
                </a:lnTo>
                <a:close/>
                <a:moveTo>
                  <a:pt x="4164" y="221"/>
                </a:moveTo>
                <a:cubicBezTo>
                  <a:pt x="4334" y="356"/>
                  <a:pt x="4334" y="356"/>
                  <a:pt x="4334" y="356"/>
                </a:cubicBezTo>
                <a:cubicBezTo>
                  <a:pt x="4209" y="356"/>
                  <a:pt x="4209" y="356"/>
                  <a:pt x="4209" y="356"/>
                </a:cubicBezTo>
                <a:cubicBezTo>
                  <a:pt x="4060" y="221"/>
                  <a:pt x="4060" y="221"/>
                  <a:pt x="4060" y="221"/>
                </a:cubicBezTo>
                <a:cubicBezTo>
                  <a:pt x="3978" y="221"/>
                  <a:pt x="3978" y="221"/>
                  <a:pt x="3978" y="221"/>
                </a:cubicBezTo>
                <a:cubicBezTo>
                  <a:pt x="3978" y="356"/>
                  <a:pt x="3978" y="356"/>
                  <a:pt x="3978" y="356"/>
                </a:cubicBezTo>
                <a:cubicBezTo>
                  <a:pt x="3892" y="356"/>
                  <a:pt x="3892" y="356"/>
                  <a:pt x="3892" y="356"/>
                </a:cubicBezTo>
                <a:cubicBezTo>
                  <a:pt x="3892" y="0"/>
                  <a:pt x="3892" y="0"/>
                  <a:pt x="3892" y="0"/>
                </a:cubicBezTo>
                <a:cubicBezTo>
                  <a:pt x="4213" y="0"/>
                  <a:pt x="4213" y="0"/>
                  <a:pt x="4213" y="0"/>
                </a:cubicBezTo>
                <a:cubicBezTo>
                  <a:pt x="4270" y="0"/>
                  <a:pt x="4296" y="19"/>
                  <a:pt x="4296" y="69"/>
                </a:cubicBezTo>
                <a:cubicBezTo>
                  <a:pt x="4296" y="153"/>
                  <a:pt x="4296" y="153"/>
                  <a:pt x="4296" y="153"/>
                </a:cubicBezTo>
                <a:cubicBezTo>
                  <a:pt x="4296" y="202"/>
                  <a:pt x="4270" y="221"/>
                  <a:pt x="4213" y="221"/>
                </a:cubicBezTo>
                <a:lnTo>
                  <a:pt x="4164" y="221"/>
                </a:lnTo>
                <a:close/>
                <a:moveTo>
                  <a:pt x="4176" y="160"/>
                </a:moveTo>
                <a:cubicBezTo>
                  <a:pt x="4202" y="160"/>
                  <a:pt x="4216" y="155"/>
                  <a:pt x="4216" y="131"/>
                </a:cubicBezTo>
                <a:cubicBezTo>
                  <a:pt x="4216" y="90"/>
                  <a:pt x="4216" y="90"/>
                  <a:pt x="4216" y="90"/>
                </a:cubicBezTo>
                <a:cubicBezTo>
                  <a:pt x="4216" y="67"/>
                  <a:pt x="4202" y="61"/>
                  <a:pt x="4176" y="61"/>
                </a:cubicBezTo>
                <a:cubicBezTo>
                  <a:pt x="3978" y="61"/>
                  <a:pt x="3978" y="61"/>
                  <a:pt x="3978" y="61"/>
                </a:cubicBezTo>
                <a:cubicBezTo>
                  <a:pt x="3978" y="160"/>
                  <a:pt x="3978" y="160"/>
                  <a:pt x="3978" y="160"/>
                </a:cubicBezTo>
                <a:lnTo>
                  <a:pt x="4176" y="160"/>
                </a:lnTo>
                <a:close/>
                <a:moveTo>
                  <a:pt x="3015" y="0"/>
                </a:moveTo>
                <a:cubicBezTo>
                  <a:pt x="3230" y="356"/>
                  <a:pt x="3230" y="356"/>
                  <a:pt x="3230" y="356"/>
                </a:cubicBezTo>
                <a:cubicBezTo>
                  <a:pt x="3132" y="356"/>
                  <a:pt x="3132" y="356"/>
                  <a:pt x="3132" y="356"/>
                </a:cubicBezTo>
                <a:cubicBezTo>
                  <a:pt x="3088" y="278"/>
                  <a:pt x="3088" y="278"/>
                  <a:pt x="3088" y="278"/>
                </a:cubicBezTo>
                <a:cubicBezTo>
                  <a:pt x="2852" y="278"/>
                  <a:pt x="2852" y="278"/>
                  <a:pt x="2852" y="278"/>
                </a:cubicBezTo>
                <a:cubicBezTo>
                  <a:pt x="2807" y="356"/>
                  <a:pt x="2807" y="356"/>
                  <a:pt x="2807" y="356"/>
                </a:cubicBezTo>
                <a:cubicBezTo>
                  <a:pt x="2721" y="356"/>
                  <a:pt x="2721" y="356"/>
                  <a:pt x="2721" y="356"/>
                </a:cubicBezTo>
                <a:cubicBezTo>
                  <a:pt x="2932" y="0"/>
                  <a:pt x="2932" y="0"/>
                  <a:pt x="2932" y="0"/>
                </a:cubicBezTo>
                <a:lnTo>
                  <a:pt x="3015" y="0"/>
                </a:lnTo>
                <a:close/>
                <a:moveTo>
                  <a:pt x="3052" y="213"/>
                </a:moveTo>
                <a:cubicBezTo>
                  <a:pt x="2969" y="65"/>
                  <a:pt x="2969" y="65"/>
                  <a:pt x="2969" y="65"/>
                </a:cubicBezTo>
                <a:cubicBezTo>
                  <a:pt x="2889" y="213"/>
                  <a:pt x="2889" y="213"/>
                  <a:pt x="2889" y="213"/>
                </a:cubicBezTo>
                <a:lnTo>
                  <a:pt x="3052" y="213"/>
                </a:lnTo>
                <a:close/>
                <a:moveTo>
                  <a:pt x="7046" y="64"/>
                </a:moveTo>
                <a:cubicBezTo>
                  <a:pt x="7217" y="64"/>
                  <a:pt x="7217" y="64"/>
                  <a:pt x="7217" y="64"/>
                </a:cubicBezTo>
                <a:cubicBezTo>
                  <a:pt x="7217" y="356"/>
                  <a:pt x="7217" y="356"/>
                  <a:pt x="7217" y="356"/>
                </a:cubicBezTo>
                <a:cubicBezTo>
                  <a:pt x="7304" y="356"/>
                  <a:pt x="7304" y="356"/>
                  <a:pt x="7304" y="356"/>
                </a:cubicBezTo>
                <a:cubicBezTo>
                  <a:pt x="7304" y="64"/>
                  <a:pt x="7304" y="64"/>
                  <a:pt x="7304" y="64"/>
                </a:cubicBezTo>
                <a:cubicBezTo>
                  <a:pt x="7477" y="64"/>
                  <a:pt x="7477" y="64"/>
                  <a:pt x="7477" y="64"/>
                </a:cubicBezTo>
                <a:cubicBezTo>
                  <a:pt x="7477" y="0"/>
                  <a:pt x="7477" y="0"/>
                  <a:pt x="7477" y="0"/>
                </a:cubicBezTo>
                <a:cubicBezTo>
                  <a:pt x="7046" y="0"/>
                  <a:pt x="7046" y="0"/>
                  <a:pt x="7046" y="0"/>
                </a:cubicBezTo>
                <a:lnTo>
                  <a:pt x="704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7" name="Tijdelijke aanduiding voor voettekst 6"/>
          <p:cNvSpPr>
            <a:spLocks noGrp="1" noSelect="1"/>
          </p:cNvSpPr>
          <p:nvPr>
            <p:ph type="ftr" sz="quarter" idx="3"/>
          </p:nvPr>
        </p:nvSpPr>
        <p:spPr bwMode="gray">
          <a:xfrm>
            <a:off x="1080000" y="6487389"/>
            <a:ext cx="10116000" cy="307765"/>
          </a:xfrm>
          <a:prstGeom prst="rect">
            <a:avLst/>
          </a:prstGeom>
        </p:spPr>
        <p:txBody>
          <a:bodyPr vert="horz" lIns="0" tIns="0" rIns="0" bIns="0" rtlCol="0" anchor="ctr"/>
          <a:lstStyle>
            <a:lvl1pPr algn="l">
              <a:defRPr sz="1400">
                <a:solidFill>
                  <a:schemeClr val="tx1"/>
                </a:solidFill>
              </a:defRPr>
            </a:lvl1pPr>
          </a:lstStyle>
          <a:p>
            <a:r>
              <a:rPr lang="nl-NL" noProof="1"/>
              <a:t>[Plaats hier de aanduiding van het OM onderdeel]</a:t>
            </a:r>
          </a:p>
        </p:txBody>
      </p:sp>
      <p:sp>
        <p:nvSpPr>
          <p:cNvPr id="14" name="Tijdelijke aanduiding voor dianummer 5"/>
          <p:cNvSpPr>
            <a:spLocks noGrp="1" noSelect="1"/>
          </p:cNvSpPr>
          <p:nvPr>
            <p:ph type="sldNum" sz="quarter" idx="4"/>
          </p:nvPr>
        </p:nvSpPr>
        <p:spPr bwMode="gray">
          <a:xfrm>
            <a:off x="10578904" y="86390"/>
            <a:ext cx="871302" cy="360000"/>
          </a:xfrm>
          <a:prstGeom prst="rect">
            <a:avLst/>
          </a:prstGeom>
        </p:spPr>
        <p:txBody>
          <a:bodyPr vert="horz" lIns="0" tIns="0" rIns="0" bIns="0" rtlCol="0" anchor="b">
            <a:noAutofit/>
          </a:bodyPr>
          <a:lstStyle>
            <a:lvl1pPr algn="l">
              <a:defRPr sz="1100">
                <a:solidFill>
                  <a:srgbClr val="000000"/>
                </a:solidFill>
                <a:latin typeface="Arial" panose="020B0604020202020204" pitchFamily="34" charset="0"/>
                <a:cs typeface="Arial" panose="020B0604020202020204" pitchFamily="34" charset="0"/>
              </a:defRPr>
            </a:lvl1pPr>
          </a:lstStyle>
          <a:p>
            <a:r>
              <a:rPr lang="nl-NL" noProof="1"/>
              <a:t>pagina </a:t>
            </a:r>
            <a:fld id="{1336C48C-F87C-4E4B-81EF-5027B17D1F61}" type="slidenum">
              <a:rPr lang="nl-NL" noProof="1" smtClean="0"/>
              <a:pPr/>
              <a:t>‹nr.›</a:t>
            </a:fld>
            <a:endParaRPr lang="nl-NL" noProof="1"/>
          </a:p>
        </p:txBody>
      </p:sp>
    </p:spTree>
  </p:cSld>
  <p:clrMap bg1="lt1" tx1="dk1" bg2="lt2" tx2="dk2" accent1="accent1" accent2="accent2" accent3="accent3" accent4="accent4" accent5="accent5" accent6="accent6" hlink="hlink" folHlink="folHlink"/>
  <p:sldLayoutIdLst>
    <p:sldLayoutId id="2147483718" r:id="rId1"/>
    <p:sldLayoutId id="2147483710" r:id="rId2"/>
    <p:sldLayoutId id="2147483715" r:id="rId3"/>
    <p:sldLayoutId id="2147483716" r:id="rId4"/>
    <p:sldLayoutId id="2147483711" r:id="rId5"/>
    <p:sldLayoutId id="2147483717" r:id="rId6"/>
    <p:sldLayoutId id="2147483713" r:id="rId7"/>
    <p:sldLayoutId id="2147483714" r:id="rId8"/>
  </p:sldLayoutIdLst>
  <p:hf sldNum="0" hdr="0" ftr="0" dt="0"/>
  <p:txStyles>
    <p:titleStyle>
      <a:lvl1pPr algn="l" defTabSz="1088502" rtl="0" eaLnBrk="1" latinLnBrk="0" hangingPunct="1">
        <a:spcBef>
          <a:spcPct val="0"/>
        </a:spcBef>
        <a:buNone/>
        <a:defRPr sz="2400" b="1" kern="1200">
          <a:solidFill>
            <a:schemeClr val="tx1"/>
          </a:solidFill>
          <a:latin typeface="+mj-lt"/>
          <a:ea typeface="+mj-ea"/>
          <a:cs typeface="+mj-cs"/>
        </a:defRPr>
      </a:lvl1pPr>
    </p:titleStyle>
    <p:bodyStyle>
      <a:lvl1pPr marL="270000" indent="-270000" algn="l" defTabSz="1088502" rtl="0" eaLnBrk="1" latinLnBrk="0" hangingPunct="1">
        <a:spcBef>
          <a:spcPts val="0"/>
        </a:spcBef>
        <a:buFont typeface="Arial" pitchFamily="34" charset="0"/>
        <a:buChar char="•"/>
        <a:defRPr sz="1800" b="0" kern="1200" baseline="0">
          <a:solidFill>
            <a:schemeClr val="tx1"/>
          </a:solidFill>
          <a:latin typeface="+mn-lt"/>
          <a:ea typeface="+mn-ea"/>
          <a:cs typeface="+mn-cs"/>
        </a:defRPr>
      </a:lvl1pPr>
      <a:lvl2pPr marL="540000" indent="-270000" algn="l" defTabSz="1088502" rtl="0" eaLnBrk="1" latinLnBrk="0" hangingPunct="1">
        <a:spcBef>
          <a:spcPts val="0"/>
        </a:spcBef>
        <a:buFont typeface="Arial" pitchFamily="34" charset="0"/>
        <a:buChar char="•"/>
        <a:defRPr sz="1800" kern="1200">
          <a:solidFill>
            <a:schemeClr val="tx1"/>
          </a:solidFill>
          <a:latin typeface="+mn-lt"/>
          <a:ea typeface="+mn-ea"/>
          <a:cs typeface="+mn-cs"/>
        </a:defRPr>
      </a:lvl2pPr>
      <a:lvl3pPr marL="810000" indent="-270000" algn="l" defTabSz="1088502" rtl="0" eaLnBrk="1" latinLnBrk="0" hangingPunct="1">
        <a:spcBef>
          <a:spcPts val="0"/>
        </a:spcBef>
        <a:buFont typeface="Arial" pitchFamily="34" charset="0"/>
        <a:buChar char="•"/>
        <a:defRPr sz="1800" b="0" kern="1200">
          <a:solidFill>
            <a:schemeClr val="tx1"/>
          </a:solidFill>
          <a:latin typeface="+mn-lt"/>
          <a:ea typeface="+mn-ea"/>
          <a:cs typeface="+mn-cs"/>
        </a:defRPr>
      </a:lvl3pPr>
      <a:lvl4pPr marL="0" indent="0" algn="l" defTabSz="1088502" rtl="0" eaLnBrk="1" latinLnBrk="0" hangingPunct="1">
        <a:spcBef>
          <a:spcPts val="1800"/>
        </a:spcBef>
        <a:spcAft>
          <a:spcPts val="800"/>
        </a:spcAft>
        <a:buFont typeface="Arial" pitchFamily="34" charset="0"/>
        <a:buNone/>
        <a:defRPr sz="1800" b="1" kern="1200">
          <a:solidFill>
            <a:schemeClr val="tx1"/>
          </a:solidFill>
          <a:latin typeface="+mn-lt"/>
          <a:ea typeface="+mn-ea"/>
          <a:cs typeface="+mn-cs"/>
        </a:defRPr>
      </a:lvl4pPr>
      <a:lvl5pPr marL="0" indent="0" algn="l" defTabSz="1088502" rtl="0" eaLnBrk="1" latinLnBrk="0" hangingPunct="1">
        <a:spcBef>
          <a:spcPts val="0"/>
        </a:spcBef>
        <a:buFont typeface="Arial" pitchFamily="34" charset="0"/>
        <a:buNone/>
        <a:defRPr sz="1800" kern="1200">
          <a:solidFill>
            <a:schemeClr val="tx1"/>
          </a:solidFill>
          <a:latin typeface="+mn-lt"/>
          <a:ea typeface="+mn-ea"/>
          <a:cs typeface="+mn-cs"/>
        </a:defRPr>
      </a:lvl5pPr>
      <a:lvl6pPr marL="270000" indent="0" algn="l" defTabSz="1088502" rtl="0" eaLnBrk="1" latinLnBrk="0" hangingPunct="1">
        <a:spcBef>
          <a:spcPts val="0"/>
        </a:spcBef>
        <a:buFont typeface="Arial" pitchFamily="34" charset="0"/>
        <a:buNone/>
        <a:defRPr sz="1800" kern="1200">
          <a:solidFill>
            <a:schemeClr val="tx1"/>
          </a:solidFill>
          <a:latin typeface="+mn-lt"/>
          <a:ea typeface="+mn-ea"/>
          <a:cs typeface="+mn-cs"/>
        </a:defRPr>
      </a:lvl6pPr>
      <a:lvl7pPr marL="540000" indent="0" algn="l" defTabSz="1088502" rtl="0" eaLnBrk="1" latinLnBrk="0" hangingPunct="1">
        <a:spcBef>
          <a:spcPts val="0"/>
        </a:spcBef>
        <a:buFont typeface="Arial" pitchFamily="34" charset="0"/>
        <a:buNone/>
        <a:defRPr sz="1800" kern="1200">
          <a:solidFill>
            <a:schemeClr val="tx1"/>
          </a:solidFill>
          <a:latin typeface="+mn-lt"/>
          <a:ea typeface="+mn-ea"/>
          <a:cs typeface="+mn-cs"/>
        </a:defRPr>
      </a:lvl7pPr>
      <a:lvl8pPr marL="810000" indent="0" algn="l" defTabSz="1088502" rtl="0" eaLnBrk="1" latinLnBrk="0" hangingPunct="1">
        <a:spcBef>
          <a:spcPts val="0"/>
        </a:spcBef>
        <a:buFont typeface="Arial" pitchFamily="34" charset="0"/>
        <a:buNone/>
        <a:defRPr sz="1800" kern="1200">
          <a:solidFill>
            <a:schemeClr val="tx1"/>
          </a:solidFill>
          <a:latin typeface="+mn-lt"/>
          <a:ea typeface="+mn-ea"/>
          <a:cs typeface="+mn-cs"/>
        </a:defRPr>
      </a:lvl8pPr>
      <a:lvl9pPr marL="0" indent="0" algn="l" defTabSz="1088502" rtl="0" eaLnBrk="1" latinLnBrk="0" hangingPunct="1">
        <a:spcBef>
          <a:spcPts val="0"/>
        </a:spcBef>
        <a:buFont typeface="Arial" pitchFamily="34" charset="0"/>
        <a:buNone/>
        <a:defRPr sz="1800" i="1" kern="1200" baseline="0">
          <a:solidFill>
            <a:schemeClr val="tx1"/>
          </a:solidFill>
          <a:latin typeface="+mn-lt"/>
          <a:ea typeface="+mn-ea"/>
          <a:cs typeface="+mn-cs"/>
        </a:defRPr>
      </a:lvl9pPr>
    </p:bodyStyle>
    <p:otherStyle>
      <a:defPPr>
        <a:defRPr lang="nl-NL"/>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DDB7A5-7C32-4604-8245-A0C65B83C768}"/>
              </a:ext>
            </a:extLst>
          </p:cNvPr>
          <p:cNvGraphicFramePr>
            <a:graphicFrameLocks noChangeAspect="1"/>
          </p:cNvGraphicFramePr>
          <p:nvPr userDrawn="1">
            <p:custDataLst>
              <p:tags r:id="rId11"/>
            </p:custDataLst>
            <p:extLst>
              <p:ext uri="{D42A27DB-BD31-4B8C-83A1-F6EECF244321}">
                <p14:modId xmlns:p14="http://schemas.microsoft.com/office/powerpoint/2010/main" val="4000631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 name="think-cell Slide" r:id="rId12" imgW="592" imgH="595" progId="TCLayout.ActiveDocument.1">
                  <p:embed/>
                </p:oleObj>
              </mc:Choice>
              <mc:Fallback>
                <p:oleObj name="think-cell Slide" r:id="rId12" imgW="592" imgH="595" progId="TCLayout.ActiveDocument.1">
                  <p:embed/>
                  <p:pic>
                    <p:nvPicPr>
                      <p:cNvPr id="5" name="Object 4" hidden="1">
                        <a:extLst>
                          <a:ext uri="{FF2B5EF4-FFF2-40B4-BE49-F238E27FC236}">
                            <a16:creationId xmlns:a16="http://schemas.microsoft.com/office/drawing/2014/main" id="{68DDB7A5-7C32-4604-8245-A0C65B83C76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3" name="Rectangle 8"/>
          <p:cNvSpPr>
            <a:spLocks noSelect="1" noChangeArrowheads="1"/>
          </p:cNvSpPr>
          <p:nvPr userDrawn="1"/>
        </p:nvSpPr>
        <p:spPr bwMode="gray">
          <a:xfrm>
            <a:off x="0" y="1709738"/>
            <a:ext cx="12189600" cy="4248150"/>
          </a:xfrm>
          <a:prstGeom prst="rect">
            <a:avLst/>
          </a:prstGeom>
          <a:solidFill>
            <a:srgbClr val="DBF0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1" hangingPunct="1">
              <a:defRPr/>
            </a:pPr>
            <a:endParaRPr lang="nl-NL" sz="2142" dirty="0">
              <a:latin typeface="Arial Black" charset="0"/>
            </a:endParaRPr>
          </a:p>
        </p:txBody>
      </p:sp>
      <p:sp>
        <p:nvSpPr>
          <p:cNvPr id="2" name="Tijdelijke aanduiding voor titel 1"/>
          <p:cNvSpPr>
            <a:spLocks noGrp="1" noSelect="1"/>
          </p:cNvSpPr>
          <p:nvPr>
            <p:ph type="title"/>
          </p:nvPr>
        </p:nvSpPr>
        <p:spPr bwMode="gray">
          <a:xfrm>
            <a:off x="1081183" y="572872"/>
            <a:ext cx="10080000" cy="868556"/>
          </a:xfrm>
          <a:prstGeom prst="rect">
            <a:avLst/>
          </a:prstGeom>
        </p:spPr>
        <p:txBody>
          <a:bodyPr vert="horz" lIns="0" tIns="0" rIns="0" bIns="0" rtlCol="0" anchor="b">
            <a:noAutofit/>
          </a:bodyPr>
          <a:lstStyle/>
          <a:p>
            <a:r>
              <a:rPr lang="nl-NL" noProof="1"/>
              <a:t>Klik om de stijl te bewerken</a:t>
            </a:r>
          </a:p>
        </p:txBody>
      </p:sp>
      <p:sp>
        <p:nvSpPr>
          <p:cNvPr id="3" name="Tijdelijke aanduiding voor tekst 2 (JU-Free)"/>
          <p:cNvSpPr>
            <a:spLocks noGrp="1"/>
          </p:cNvSpPr>
          <p:nvPr>
            <p:ph type="body" idx="1"/>
          </p:nvPr>
        </p:nvSpPr>
        <p:spPr bwMode="gray">
          <a:xfrm>
            <a:off x="1080000" y="1895040"/>
            <a:ext cx="10080000" cy="3888000"/>
          </a:xfrm>
          <a:prstGeom prst="rect">
            <a:avLst/>
          </a:prstGeom>
        </p:spPr>
        <p:txBody>
          <a:bodyPr vert="horz" lIns="0" tIns="0" rIns="0" bIns="0" rtlCol="0">
            <a:noAutofit/>
          </a:bodyPr>
          <a:lstStyle/>
          <a:p>
            <a:pPr lvl="0"/>
            <a:r>
              <a:rPr lang="nl-NL" noProof="1"/>
              <a:t>JU-LEVEL1=Opsomming 1e niveauetuer adipiscing elit</a:t>
            </a:r>
          </a:p>
          <a:p>
            <a:pPr lvl="1"/>
            <a:r>
              <a:rPr lang="nl-NL" noProof="1"/>
              <a:t>JU-LEVEL2=Opsomming 2e niveau</a:t>
            </a:r>
          </a:p>
          <a:p>
            <a:pPr lvl="2"/>
            <a:r>
              <a:rPr lang="nl-NL" noProof="1"/>
              <a:t>JU-LEVEL3=Opsomming 3e niveau</a:t>
            </a:r>
          </a:p>
          <a:p>
            <a:pPr lvl="3"/>
            <a:r>
              <a:rPr lang="nl-NL" noProof="1"/>
              <a:t>JU-LEVEL4=Kop</a:t>
            </a:r>
          </a:p>
          <a:p>
            <a:pPr lvl="4"/>
            <a:r>
              <a:rPr lang="nl-NL" noProof="1"/>
              <a:t>JU-LEVEL5=Basistekst</a:t>
            </a:r>
          </a:p>
          <a:p>
            <a:pPr lvl="5"/>
            <a:r>
              <a:rPr lang="nl-NL" noProof="1"/>
              <a:t>JU-LEVEL6=Inspring 1e niveau</a:t>
            </a:r>
          </a:p>
          <a:p>
            <a:pPr lvl="6"/>
            <a:r>
              <a:rPr lang="nl-NL" noProof="1"/>
              <a:t>JU-LEVEL7=Inspring 2e niveau</a:t>
            </a:r>
          </a:p>
          <a:p>
            <a:pPr lvl="7"/>
            <a:r>
              <a:rPr lang="nl-NL" noProof="1"/>
              <a:t>JU-LEVEL8=Inspring 3e niveau</a:t>
            </a:r>
          </a:p>
          <a:p>
            <a:pPr lvl="8"/>
            <a:r>
              <a:rPr lang="nl-NL" noProof="1"/>
              <a:t>JU-LEVEL9=Basistekst cursief</a:t>
            </a:r>
          </a:p>
        </p:txBody>
      </p:sp>
      <p:sp>
        <p:nvSpPr>
          <p:cNvPr id="4" name="Tijdelijke aanduiding voor datum 3"/>
          <p:cNvSpPr>
            <a:spLocks noGrp="1" noSelect="1"/>
          </p:cNvSpPr>
          <p:nvPr>
            <p:ph type="dt" sz="half" idx="2"/>
          </p:nvPr>
        </p:nvSpPr>
        <p:spPr bwMode="gray">
          <a:xfrm>
            <a:off x="1080000" y="86390"/>
            <a:ext cx="2867209" cy="360000"/>
          </a:xfrm>
          <a:prstGeom prst="rect">
            <a:avLst/>
          </a:prstGeom>
        </p:spPr>
        <p:txBody>
          <a:bodyPr vert="horz" lIns="0" tIns="0" rIns="0" bIns="0" rtlCol="0" anchor="b">
            <a:noAutofit/>
          </a:bodyPr>
          <a:lstStyle>
            <a:lvl1pPr algn="l">
              <a:defRPr sz="1100">
                <a:solidFill>
                  <a:schemeClr val="tx1"/>
                </a:solidFill>
                <a:latin typeface="+mn-lt"/>
                <a:cs typeface="Arial" panose="020B0604020202020204" pitchFamily="34" charset="0"/>
              </a:defRPr>
            </a:lvl1pPr>
          </a:lstStyle>
          <a:p>
            <a:fld id="{B2199A0C-6E67-4506-84FA-63EFF30E4C8A}" type="datetime4">
              <a:rPr lang="nl-NL" noProof="1" smtClean="0"/>
              <a:t>22 september 2022</a:t>
            </a:fld>
            <a:endParaRPr lang="nl-NL" noProof="1"/>
          </a:p>
        </p:txBody>
      </p:sp>
      <p:sp>
        <p:nvSpPr>
          <p:cNvPr id="15" name="Rechthoek 14"/>
          <p:cNvSpPr>
            <a:spLocks noSelect="1"/>
          </p:cNvSpPr>
          <p:nvPr userDrawn="1"/>
        </p:nvSpPr>
        <p:spPr bwMode="gray">
          <a:xfrm>
            <a:off x="0" y="5955147"/>
            <a:ext cx="12189600" cy="450000"/>
          </a:xfrm>
          <a:prstGeom prst="rect">
            <a:avLst/>
          </a:prstGeom>
          <a:solidFill>
            <a:srgbClr val="001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6" name="Freeform 5"/>
          <p:cNvSpPr>
            <a:spLocks noSelect="1"/>
          </p:cNvSpPr>
          <p:nvPr userDrawn="1"/>
        </p:nvSpPr>
        <p:spPr bwMode="gray">
          <a:xfrm>
            <a:off x="1089025" y="6122997"/>
            <a:ext cx="2944813" cy="114300"/>
          </a:xfrm>
          <a:custGeom>
            <a:avLst/>
            <a:gdLst>
              <a:gd name="T0" fmla="*/ 6618 w 9279"/>
              <a:gd name="T1" fmla="*/ 356 h 356"/>
              <a:gd name="T2" fmla="*/ 6602 w 9279"/>
              <a:gd name="T3" fmla="*/ 290 h 356"/>
              <a:gd name="T4" fmla="*/ 6540 w 9279"/>
              <a:gd name="T5" fmla="*/ 124 h 356"/>
              <a:gd name="T6" fmla="*/ 6938 w 9279"/>
              <a:gd name="T7" fmla="*/ 78 h 356"/>
              <a:gd name="T8" fmla="*/ 6618 w 9279"/>
              <a:gd name="T9" fmla="*/ 64 h 356"/>
              <a:gd name="T10" fmla="*/ 8373 w 9279"/>
              <a:gd name="T11" fmla="*/ 222 h 356"/>
              <a:gd name="T12" fmla="*/ 8186 w 9279"/>
              <a:gd name="T13" fmla="*/ 222 h 356"/>
              <a:gd name="T14" fmla="*/ 8421 w 9279"/>
              <a:gd name="T15" fmla="*/ 0 h 356"/>
              <a:gd name="T16" fmla="*/ 8373 w 9279"/>
              <a:gd name="T17" fmla="*/ 222 h 356"/>
              <a:gd name="T18" fmla="*/ 8384 w 9279"/>
              <a:gd name="T19" fmla="*/ 61 h 356"/>
              <a:gd name="T20" fmla="*/ 2014 w 9279"/>
              <a:gd name="T21" fmla="*/ 237 h 356"/>
              <a:gd name="T22" fmla="*/ 1731 w 9279"/>
              <a:gd name="T23" fmla="*/ 356 h 356"/>
              <a:gd name="T24" fmla="*/ 2092 w 9279"/>
              <a:gd name="T25" fmla="*/ 0 h 356"/>
              <a:gd name="T26" fmla="*/ 2643 w 9279"/>
              <a:gd name="T27" fmla="*/ 286 h 356"/>
              <a:gd name="T28" fmla="*/ 2556 w 9279"/>
              <a:gd name="T29" fmla="*/ 0 h 356"/>
              <a:gd name="T30" fmla="*/ 2643 w 9279"/>
              <a:gd name="T31" fmla="*/ 241 h 356"/>
              <a:gd name="T32" fmla="*/ 2555 w 9279"/>
              <a:gd name="T33" fmla="*/ 83 h 356"/>
              <a:gd name="T34" fmla="*/ 2559 w 9279"/>
              <a:gd name="T35" fmla="*/ 233 h 356"/>
              <a:gd name="T36" fmla="*/ 2517 w 9279"/>
              <a:gd name="T37" fmla="*/ 292 h 356"/>
              <a:gd name="T38" fmla="*/ 8980 w 9279"/>
              <a:gd name="T39" fmla="*/ 202 h 356"/>
              <a:gd name="T40" fmla="*/ 8980 w 9279"/>
              <a:gd name="T41" fmla="*/ 63 h 356"/>
              <a:gd name="T42" fmla="*/ 8893 w 9279"/>
              <a:gd name="T43" fmla="*/ 356 h 356"/>
              <a:gd name="T44" fmla="*/ 1227 w 9279"/>
              <a:gd name="T45" fmla="*/ 202 h 356"/>
              <a:gd name="T46" fmla="*/ 1227 w 9279"/>
              <a:gd name="T47" fmla="*/ 63 h 356"/>
              <a:gd name="T48" fmla="*/ 1140 w 9279"/>
              <a:gd name="T49" fmla="*/ 356 h 356"/>
              <a:gd name="T50" fmla="*/ 1227 w 9279"/>
              <a:gd name="T51" fmla="*/ 202 h 356"/>
              <a:gd name="T52" fmla="*/ 93 w 9279"/>
              <a:gd name="T53" fmla="*/ 356 h 356"/>
              <a:gd name="T54" fmla="*/ 368 w 9279"/>
              <a:gd name="T55" fmla="*/ 0 h 356"/>
              <a:gd name="T56" fmla="*/ 87 w 9279"/>
              <a:gd name="T57" fmla="*/ 288 h 356"/>
              <a:gd name="T58" fmla="*/ 1015 w 9279"/>
              <a:gd name="T59" fmla="*/ 148 h 356"/>
              <a:gd name="T60" fmla="*/ 611 w 9279"/>
              <a:gd name="T61" fmla="*/ 356 h 356"/>
              <a:gd name="T62" fmla="*/ 934 w 9279"/>
              <a:gd name="T63" fmla="*/ 90 h 356"/>
              <a:gd name="T64" fmla="*/ 895 w 9279"/>
              <a:gd name="T65" fmla="*/ 156 h 356"/>
              <a:gd name="T66" fmla="*/ 8735 w 9279"/>
              <a:gd name="T67" fmla="*/ 356 h 356"/>
              <a:gd name="T68" fmla="*/ 6051 w 9279"/>
              <a:gd name="T69" fmla="*/ 237 h 356"/>
              <a:gd name="T70" fmla="*/ 5768 w 9279"/>
              <a:gd name="T71" fmla="*/ 356 h 356"/>
              <a:gd name="T72" fmla="*/ 6129 w 9279"/>
              <a:gd name="T73" fmla="*/ 0 h 356"/>
              <a:gd name="T74" fmla="*/ 5444 w 9279"/>
              <a:gd name="T75" fmla="*/ 178 h 356"/>
              <a:gd name="T76" fmla="*/ 5531 w 9279"/>
              <a:gd name="T77" fmla="*/ 178 h 356"/>
              <a:gd name="T78" fmla="*/ 6288 w 9279"/>
              <a:gd name="T79" fmla="*/ 356 h 356"/>
              <a:gd name="T80" fmla="*/ 6288 w 9279"/>
              <a:gd name="T81" fmla="*/ 356 h 356"/>
              <a:gd name="T82" fmla="*/ 4798 w 9279"/>
              <a:gd name="T83" fmla="*/ 356 h 356"/>
              <a:gd name="T84" fmla="*/ 5046 w 9279"/>
              <a:gd name="T85" fmla="*/ 313 h 356"/>
              <a:gd name="T86" fmla="*/ 5286 w 9279"/>
              <a:gd name="T87" fmla="*/ 0 h 356"/>
              <a:gd name="T88" fmla="*/ 3804 w 9279"/>
              <a:gd name="T89" fmla="*/ 356 h 356"/>
              <a:gd name="T90" fmla="*/ 3381 w 9279"/>
              <a:gd name="T91" fmla="*/ 356 h 356"/>
              <a:gd name="T92" fmla="*/ 3626 w 9279"/>
              <a:gd name="T93" fmla="*/ 213 h 356"/>
              <a:gd name="T94" fmla="*/ 7676 w 9279"/>
              <a:gd name="T95" fmla="*/ 202 h 356"/>
              <a:gd name="T96" fmla="*/ 7676 w 9279"/>
              <a:gd name="T97" fmla="*/ 63 h 356"/>
              <a:gd name="T98" fmla="*/ 7589 w 9279"/>
              <a:gd name="T99" fmla="*/ 356 h 356"/>
              <a:gd name="T100" fmla="*/ 7676 w 9279"/>
              <a:gd name="T101" fmla="*/ 202 h 356"/>
              <a:gd name="T102" fmla="*/ 4060 w 9279"/>
              <a:gd name="T103" fmla="*/ 221 h 356"/>
              <a:gd name="T104" fmla="*/ 3892 w 9279"/>
              <a:gd name="T105" fmla="*/ 0 h 356"/>
              <a:gd name="T106" fmla="*/ 4213 w 9279"/>
              <a:gd name="T107" fmla="*/ 221 h 356"/>
              <a:gd name="T108" fmla="*/ 4216 w 9279"/>
              <a:gd name="T109" fmla="*/ 90 h 356"/>
              <a:gd name="T110" fmla="*/ 4176 w 9279"/>
              <a:gd name="T111" fmla="*/ 160 h 356"/>
              <a:gd name="T112" fmla="*/ 3088 w 9279"/>
              <a:gd name="T113" fmla="*/ 278 h 356"/>
              <a:gd name="T114" fmla="*/ 2932 w 9279"/>
              <a:gd name="T115" fmla="*/ 0 h 356"/>
              <a:gd name="T116" fmla="*/ 2889 w 9279"/>
              <a:gd name="T117" fmla="*/ 213 h 356"/>
              <a:gd name="T118" fmla="*/ 7217 w 9279"/>
              <a:gd name="T119" fmla="*/ 356 h 356"/>
              <a:gd name="T120" fmla="*/ 7477 w 9279"/>
              <a:gd name="T121"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79" h="356">
                <a:moveTo>
                  <a:pt x="6942" y="223"/>
                </a:moveTo>
                <a:cubicBezTo>
                  <a:pt x="6942" y="272"/>
                  <a:pt x="6942" y="272"/>
                  <a:pt x="6942" y="272"/>
                </a:cubicBezTo>
                <a:cubicBezTo>
                  <a:pt x="6942" y="339"/>
                  <a:pt x="6920" y="356"/>
                  <a:pt x="6849" y="356"/>
                </a:cubicBezTo>
                <a:cubicBezTo>
                  <a:pt x="6618" y="356"/>
                  <a:pt x="6618" y="356"/>
                  <a:pt x="6618" y="356"/>
                </a:cubicBezTo>
                <a:cubicBezTo>
                  <a:pt x="6547" y="356"/>
                  <a:pt x="6524" y="339"/>
                  <a:pt x="6524" y="272"/>
                </a:cubicBezTo>
                <a:cubicBezTo>
                  <a:pt x="6524" y="262"/>
                  <a:pt x="6524" y="262"/>
                  <a:pt x="6524" y="262"/>
                </a:cubicBezTo>
                <a:cubicBezTo>
                  <a:pt x="6602" y="248"/>
                  <a:pt x="6602" y="248"/>
                  <a:pt x="6602" y="248"/>
                </a:cubicBezTo>
                <a:cubicBezTo>
                  <a:pt x="6602" y="290"/>
                  <a:pt x="6602" y="290"/>
                  <a:pt x="6602" y="290"/>
                </a:cubicBezTo>
                <a:cubicBezTo>
                  <a:pt x="6864" y="290"/>
                  <a:pt x="6864" y="290"/>
                  <a:pt x="6864" y="290"/>
                </a:cubicBezTo>
                <a:cubicBezTo>
                  <a:pt x="6864" y="208"/>
                  <a:pt x="6864" y="208"/>
                  <a:pt x="6864" y="208"/>
                </a:cubicBezTo>
                <a:cubicBezTo>
                  <a:pt x="6633" y="208"/>
                  <a:pt x="6633" y="208"/>
                  <a:pt x="6633" y="208"/>
                </a:cubicBezTo>
                <a:cubicBezTo>
                  <a:pt x="6563" y="208"/>
                  <a:pt x="6540" y="191"/>
                  <a:pt x="6540" y="124"/>
                </a:cubicBezTo>
                <a:cubicBezTo>
                  <a:pt x="6540" y="84"/>
                  <a:pt x="6540" y="84"/>
                  <a:pt x="6540" y="84"/>
                </a:cubicBezTo>
                <a:cubicBezTo>
                  <a:pt x="6540" y="17"/>
                  <a:pt x="6563" y="0"/>
                  <a:pt x="6633" y="0"/>
                </a:cubicBezTo>
                <a:cubicBezTo>
                  <a:pt x="6844" y="0"/>
                  <a:pt x="6844" y="0"/>
                  <a:pt x="6844" y="0"/>
                </a:cubicBezTo>
                <a:cubicBezTo>
                  <a:pt x="6910" y="0"/>
                  <a:pt x="6938" y="15"/>
                  <a:pt x="6938" y="78"/>
                </a:cubicBezTo>
                <a:cubicBezTo>
                  <a:pt x="6938" y="86"/>
                  <a:pt x="6938" y="86"/>
                  <a:pt x="6938" y="86"/>
                </a:cubicBezTo>
                <a:cubicBezTo>
                  <a:pt x="6863" y="102"/>
                  <a:pt x="6863" y="102"/>
                  <a:pt x="6863" y="102"/>
                </a:cubicBezTo>
                <a:cubicBezTo>
                  <a:pt x="6863" y="64"/>
                  <a:pt x="6863" y="64"/>
                  <a:pt x="6863" y="64"/>
                </a:cubicBezTo>
                <a:cubicBezTo>
                  <a:pt x="6618" y="64"/>
                  <a:pt x="6618" y="64"/>
                  <a:pt x="6618" y="64"/>
                </a:cubicBezTo>
                <a:cubicBezTo>
                  <a:pt x="6618" y="139"/>
                  <a:pt x="6618" y="139"/>
                  <a:pt x="6618" y="139"/>
                </a:cubicBezTo>
                <a:cubicBezTo>
                  <a:pt x="6849" y="139"/>
                  <a:pt x="6849" y="139"/>
                  <a:pt x="6849" y="139"/>
                </a:cubicBezTo>
                <a:cubicBezTo>
                  <a:pt x="6920" y="139"/>
                  <a:pt x="6942" y="156"/>
                  <a:pt x="6942" y="223"/>
                </a:cubicBezTo>
                <a:close/>
                <a:moveTo>
                  <a:pt x="8373" y="222"/>
                </a:moveTo>
                <a:cubicBezTo>
                  <a:pt x="8542" y="356"/>
                  <a:pt x="8542" y="356"/>
                  <a:pt x="8542" y="356"/>
                </a:cubicBezTo>
                <a:cubicBezTo>
                  <a:pt x="8417" y="356"/>
                  <a:pt x="8417" y="356"/>
                  <a:pt x="8417" y="356"/>
                </a:cubicBezTo>
                <a:cubicBezTo>
                  <a:pt x="8268" y="222"/>
                  <a:pt x="8268" y="222"/>
                  <a:pt x="8268" y="222"/>
                </a:cubicBezTo>
                <a:cubicBezTo>
                  <a:pt x="8186" y="222"/>
                  <a:pt x="8186" y="222"/>
                  <a:pt x="8186" y="222"/>
                </a:cubicBezTo>
                <a:cubicBezTo>
                  <a:pt x="8186" y="356"/>
                  <a:pt x="8186" y="356"/>
                  <a:pt x="8186" y="356"/>
                </a:cubicBezTo>
                <a:cubicBezTo>
                  <a:pt x="8101" y="356"/>
                  <a:pt x="8101" y="356"/>
                  <a:pt x="8101" y="356"/>
                </a:cubicBezTo>
                <a:cubicBezTo>
                  <a:pt x="8101" y="0"/>
                  <a:pt x="8101" y="0"/>
                  <a:pt x="8101" y="0"/>
                </a:cubicBezTo>
                <a:cubicBezTo>
                  <a:pt x="8421" y="0"/>
                  <a:pt x="8421" y="0"/>
                  <a:pt x="8421" y="0"/>
                </a:cubicBezTo>
                <a:cubicBezTo>
                  <a:pt x="8479" y="0"/>
                  <a:pt x="8505" y="19"/>
                  <a:pt x="8505" y="69"/>
                </a:cubicBezTo>
                <a:cubicBezTo>
                  <a:pt x="8505" y="153"/>
                  <a:pt x="8505" y="153"/>
                  <a:pt x="8505" y="153"/>
                </a:cubicBezTo>
                <a:cubicBezTo>
                  <a:pt x="8505" y="202"/>
                  <a:pt x="8479" y="222"/>
                  <a:pt x="8421" y="222"/>
                </a:cubicBezTo>
                <a:lnTo>
                  <a:pt x="8373" y="222"/>
                </a:lnTo>
                <a:close/>
                <a:moveTo>
                  <a:pt x="8384" y="160"/>
                </a:moveTo>
                <a:cubicBezTo>
                  <a:pt x="8410" y="160"/>
                  <a:pt x="8424" y="155"/>
                  <a:pt x="8424" y="131"/>
                </a:cubicBezTo>
                <a:cubicBezTo>
                  <a:pt x="8424" y="90"/>
                  <a:pt x="8424" y="90"/>
                  <a:pt x="8424" y="90"/>
                </a:cubicBezTo>
                <a:cubicBezTo>
                  <a:pt x="8424" y="67"/>
                  <a:pt x="8410" y="61"/>
                  <a:pt x="8384" y="61"/>
                </a:cubicBezTo>
                <a:cubicBezTo>
                  <a:pt x="8186" y="61"/>
                  <a:pt x="8186" y="61"/>
                  <a:pt x="8186" y="61"/>
                </a:cubicBezTo>
                <a:cubicBezTo>
                  <a:pt x="8186" y="160"/>
                  <a:pt x="8186" y="160"/>
                  <a:pt x="8186" y="160"/>
                </a:cubicBezTo>
                <a:lnTo>
                  <a:pt x="8384" y="160"/>
                </a:lnTo>
                <a:close/>
                <a:moveTo>
                  <a:pt x="2014" y="237"/>
                </a:moveTo>
                <a:cubicBezTo>
                  <a:pt x="1711" y="0"/>
                  <a:pt x="1711" y="0"/>
                  <a:pt x="1711" y="0"/>
                </a:cubicBezTo>
                <a:cubicBezTo>
                  <a:pt x="1652" y="0"/>
                  <a:pt x="1652" y="0"/>
                  <a:pt x="1652" y="0"/>
                </a:cubicBezTo>
                <a:cubicBezTo>
                  <a:pt x="1652" y="356"/>
                  <a:pt x="1652" y="356"/>
                  <a:pt x="1652" y="356"/>
                </a:cubicBezTo>
                <a:cubicBezTo>
                  <a:pt x="1731" y="356"/>
                  <a:pt x="1731" y="356"/>
                  <a:pt x="1731" y="356"/>
                </a:cubicBezTo>
                <a:cubicBezTo>
                  <a:pt x="1731" y="116"/>
                  <a:pt x="1731" y="116"/>
                  <a:pt x="1731" y="116"/>
                </a:cubicBezTo>
                <a:cubicBezTo>
                  <a:pt x="2032" y="356"/>
                  <a:pt x="2032" y="356"/>
                  <a:pt x="2032" y="356"/>
                </a:cubicBezTo>
                <a:cubicBezTo>
                  <a:pt x="2092" y="356"/>
                  <a:pt x="2092" y="356"/>
                  <a:pt x="2092" y="356"/>
                </a:cubicBezTo>
                <a:cubicBezTo>
                  <a:pt x="2092" y="0"/>
                  <a:pt x="2092" y="0"/>
                  <a:pt x="2092" y="0"/>
                </a:cubicBezTo>
                <a:cubicBezTo>
                  <a:pt x="2014" y="0"/>
                  <a:pt x="2014" y="0"/>
                  <a:pt x="2014" y="0"/>
                </a:cubicBezTo>
                <a:lnTo>
                  <a:pt x="2014" y="237"/>
                </a:lnTo>
                <a:close/>
                <a:moveTo>
                  <a:pt x="2643" y="241"/>
                </a:moveTo>
                <a:cubicBezTo>
                  <a:pt x="2643" y="286"/>
                  <a:pt x="2643" y="286"/>
                  <a:pt x="2643" y="286"/>
                </a:cubicBezTo>
                <a:cubicBezTo>
                  <a:pt x="2643" y="334"/>
                  <a:pt x="2606" y="356"/>
                  <a:pt x="2533" y="356"/>
                </a:cubicBezTo>
                <a:cubicBezTo>
                  <a:pt x="2236" y="356"/>
                  <a:pt x="2236" y="356"/>
                  <a:pt x="2236" y="356"/>
                </a:cubicBezTo>
                <a:cubicBezTo>
                  <a:pt x="2236" y="0"/>
                  <a:pt x="2236" y="0"/>
                  <a:pt x="2236" y="0"/>
                </a:cubicBezTo>
                <a:cubicBezTo>
                  <a:pt x="2556" y="0"/>
                  <a:pt x="2556" y="0"/>
                  <a:pt x="2556" y="0"/>
                </a:cubicBezTo>
                <a:cubicBezTo>
                  <a:pt x="2613" y="0"/>
                  <a:pt x="2640" y="19"/>
                  <a:pt x="2640" y="69"/>
                </a:cubicBezTo>
                <a:cubicBezTo>
                  <a:pt x="2640" y="112"/>
                  <a:pt x="2640" y="112"/>
                  <a:pt x="2640" y="112"/>
                </a:cubicBezTo>
                <a:cubicBezTo>
                  <a:pt x="2640" y="145"/>
                  <a:pt x="2619" y="166"/>
                  <a:pt x="2580" y="173"/>
                </a:cubicBezTo>
                <a:cubicBezTo>
                  <a:pt x="2620" y="179"/>
                  <a:pt x="2643" y="205"/>
                  <a:pt x="2643" y="241"/>
                </a:cubicBezTo>
                <a:close/>
                <a:moveTo>
                  <a:pt x="2322" y="142"/>
                </a:moveTo>
                <a:cubicBezTo>
                  <a:pt x="2517" y="142"/>
                  <a:pt x="2517" y="142"/>
                  <a:pt x="2517" y="142"/>
                </a:cubicBezTo>
                <a:cubicBezTo>
                  <a:pt x="2543" y="142"/>
                  <a:pt x="2555" y="138"/>
                  <a:pt x="2555" y="117"/>
                </a:cubicBezTo>
                <a:cubicBezTo>
                  <a:pt x="2555" y="83"/>
                  <a:pt x="2555" y="83"/>
                  <a:pt x="2555" y="83"/>
                </a:cubicBezTo>
                <a:cubicBezTo>
                  <a:pt x="2555" y="62"/>
                  <a:pt x="2544" y="58"/>
                  <a:pt x="2517" y="58"/>
                </a:cubicBezTo>
                <a:cubicBezTo>
                  <a:pt x="2322" y="58"/>
                  <a:pt x="2322" y="58"/>
                  <a:pt x="2322" y="58"/>
                </a:cubicBezTo>
                <a:lnTo>
                  <a:pt x="2322" y="142"/>
                </a:lnTo>
                <a:close/>
                <a:moveTo>
                  <a:pt x="2559" y="233"/>
                </a:moveTo>
                <a:cubicBezTo>
                  <a:pt x="2559" y="207"/>
                  <a:pt x="2546" y="201"/>
                  <a:pt x="2517" y="201"/>
                </a:cubicBezTo>
                <a:cubicBezTo>
                  <a:pt x="2322" y="201"/>
                  <a:pt x="2322" y="201"/>
                  <a:pt x="2322" y="201"/>
                </a:cubicBezTo>
                <a:cubicBezTo>
                  <a:pt x="2322" y="292"/>
                  <a:pt x="2322" y="292"/>
                  <a:pt x="2322" y="292"/>
                </a:cubicBezTo>
                <a:cubicBezTo>
                  <a:pt x="2517" y="292"/>
                  <a:pt x="2517" y="292"/>
                  <a:pt x="2517" y="292"/>
                </a:cubicBezTo>
                <a:cubicBezTo>
                  <a:pt x="2546" y="292"/>
                  <a:pt x="2559" y="286"/>
                  <a:pt x="2559" y="260"/>
                </a:cubicBezTo>
                <a:lnTo>
                  <a:pt x="2559" y="233"/>
                </a:lnTo>
                <a:close/>
                <a:moveTo>
                  <a:pt x="8980" y="290"/>
                </a:moveTo>
                <a:cubicBezTo>
                  <a:pt x="8980" y="202"/>
                  <a:pt x="8980" y="202"/>
                  <a:pt x="8980" y="202"/>
                </a:cubicBezTo>
                <a:cubicBezTo>
                  <a:pt x="9152" y="202"/>
                  <a:pt x="9152" y="202"/>
                  <a:pt x="9152" y="202"/>
                </a:cubicBezTo>
                <a:cubicBezTo>
                  <a:pt x="9152" y="141"/>
                  <a:pt x="9152" y="141"/>
                  <a:pt x="9152" y="141"/>
                </a:cubicBezTo>
                <a:cubicBezTo>
                  <a:pt x="8980" y="141"/>
                  <a:pt x="8980" y="141"/>
                  <a:pt x="8980" y="141"/>
                </a:cubicBezTo>
                <a:cubicBezTo>
                  <a:pt x="8980" y="63"/>
                  <a:pt x="8980" y="63"/>
                  <a:pt x="8980" y="63"/>
                </a:cubicBezTo>
                <a:cubicBezTo>
                  <a:pt x="9275" y="63"/>
                  <a:pt x="9275" y="63"/>
                  <a:pt x="9275" y="63"/>
                </a:cubicBezTo>
                <a:cubicBezTo>
                  <a:pt x="9275" y="0"/>
                  <a:pt x="9275" y="0"/>
                  <a:pt x="9275" y="0"/>
                </a:cubicBezTo>
                <a:cubicBezTo>
                  <a:pt x="8893" y="0"/>
                  <a:pt x="8893" y="0"/>
                  <a:pt x="8893" y="0"/>
                </a:cubicBezTo>
                <a:cubicBezTo>
                  <a:pt x="8893" y="356"/>
                  <a:pt x="8893" y="356"/>
                  <a:pt x="8893" y="356"/>
                </a:cubicBezTo>
                <a:cubicBezTo>
                  <a:pt x="9279" y="356"/>
                  <a:pt x="9279" y="356"/>
                  <a:pt x="9279" y="356"/>
                </a:cubicBezTo>
                <a:cubicBezTo>
                  <a:pt x="9279" y="290"/>
                  <a:pt x="9279" y="290"/>
                  <a:pt x="9279" y="290"/>
                </a:cubicBezTo>
                <a:lnTo>
                  <a:pt x="8980" y="290"/>
                </a:lnTo>
                <a:close/>
                <a:moveTo>
                  <a:pt x="1227" y="202"/>
                </a:moveTo>
                <a:cubicBezTo>
                  <a:pt x="1399" y="202"/>
                  <a:pt x="1399" y="202"/>
                  <a:pt x="1399" y="202"/>
                </a:cubicBezTo>
                <a:cubicBezTo>
                  <a:pt x="1399" y="141"/>
                  <a:pt x="1399" y="141"/>
                  <a:pt x="1399" y="141"/>
                </a:cubicBezTo>
                <a:cubicBezTo>
                  <a:pt x="1227" y="141"/>
                  <a:pt x="1227" y="141"/>
                  <a:pt x="1227" y="141"/>
                </a:cubicBezTo>
                <a:cubicBezTo>
                  <a:pt x="1227" y="63"/>
                  <a:pt x="1227" y="63"/>
                  <a:pt x="1227" y="63"/>
                </a:cubicBezTo>
                <a:cubicBezTo>
                  <a:pt x="1522" y="63"/>
                  <a:pt x="1522" y="63"/>
                  <a:pt x="1522" y="63"/>
                </a:cubicBezTo>
                <a:cubicBezTo>
                  <a:pt x="1522" y="0"/>
                  <a:pt x="1522" y="0"/>
                  <a:pt x="1522" y="0"/>
                </a:cubicBezTo>
                <a:cubicBezTo>
                  <a:pt x="1140" y="0"/>
                  <a:pt x="1140" y="0"/>
                  <a:pt x="1140" y="0"/>
                </a:cubicBezTo>
                <a:cubicBezTo>
                  <a:pt x="1140" y="356"/>
                  <a:pt x="1140" y="356"/>
                  <a:pt x="1140" y="356"/>
                </a:cubicBezTo>
                <a:cubicBezTo>
                  <a:pt x="1526" y="356"/>
                  <a:pt x="1526" y="356"/>
                  <a:pt x="1526" y="356"/>
                </a:cubicBezTo>
                <a:cubicBezTo>
                  <a:pt x="1526" y="290"/>
                  <a:pt x="1526" y="290"/>
                  <a:pt x="1526" y="290"/>
                </a:cubicBezTo>
                <a:cubicBezTo>
                  <a:pt x="1227" y="290"/>
                  <a:pt x="1227" y="290"/>
                  <a:pt x="1227" y="290"/>
                </a:cubicBezTo>
                <a:lnTo>
                  <a:pt x="1227" y="202"/>
                </a:lnTo>
                <a:close/>
                <a:moveTo>
                  <a:pt x="461" y="84"/>
                </a:moveTo>
                <a:cubicBezTo>
                  <a:pt x="461" y="272"/>
                  <a:pt x="461" y="272"/>
                  <a:pt x="461" y="272"/>
                </a:cubicBezTo>
                <a:cubicBezTo>
                  <a:pt x="461" y="339"/>
                  <a:pt x="438" y="356"/>
                  <a:pt x="368" y="356"/>
                </a:cubicBezTo>
                <a:cubicBezTo>
                  <a:pt x="93" y="356"/>
                  <a:pt x="93" y="356"/>
                  <a:pt x="93" y="356"/>
                </a:cubicBezTo>
                <a:cubicBezTo>
                  <a:pt x="22" y="356"/>
                  <a:pt x="0" y="339"/>
                  <a:pt x="0" y="272"/>
                </a:cubicBezTo>
                <a:cubicBezTo>
                  <a:pt x="0" y="84"/>
                  <a:pt x="0" y="84"/>
                  <a:pt x="0" y="84"/>
                </a:cubicBezTo>
                <a:cubicBezTo>
                  <a:pt x="0" y="16"/>
                  <a:pt x="23" y="0"/>
                  <a:pt x="93" y="0"/>
                </a:cubicBezTo>
                <a:cubicBezTo>
                  <a:pt x="368" y="0"/>
                  <a:pt x="368" y="0"/>
                  <a:pt x="368" y="0"/>
                </a:cubicBezTo>
                <a:cubicBezTo>
                  <a:pt x="438" y="0"/>
                  <a:pt x="461" y="16"/>
                  <a:pt x="461" y="84"/>
                </a:cubicBezTo>
                <a:close/>
                <a:moveTo>
                  <a:pt x="374" y="66"/>
                </a:moveTo>
                <a:cubicBezTo>
                  <a:pt x="87" y="66"/>
                  <a:pt x="87" y="66"/>
                  <a:pt x="87" y="66"/>
                </a:cubicBezTo>
                <a:cubicBezTo>
                  <a:pt x="87" y="288"/>
                  <a:pt x="87" y="288"/>
                  <a:pt x="87" y="288"/>
                </a:cubicBezTo>
                <a:cubicBezTo>
                  <a:pt x="374" y="288"/>
                  <a:pt x="374" y="288"/>
                  <a:pt x="374" y="288"/>
                </a:cubicBezTo>
                <a:lnTo>
                  <a:pt x="374" y="66"/>
                </a:lnTo>
                <a:close/>
                <a:moveTo>
                  <a:pt x="1015" y="69"/>
                </a:moveTo>
                <a:cubicBezTo>
                  <a:pt x="1015" y="148"/>
                  <a:pt x="1015" y="148"/>
                  <a:pt x="1015" y="148"/>
                </a:cubicBezTo>
                <a:cubicBezTo>
                  <a:pt x="1015" y="198"/>
                  <a:pt x="989" y="217"/>
                  <a:pt x="932" y="217"/>
                </a:cubicBezTo>
                <a:cubicBezTo>
                  <a:pt x="697" y="217"/>
                  <a:pt x="697" y="217"/>
                  <a:pt x="697" y="217"/>
                </a:cubicBezTo>
                <a:cubicBezTo>
                  <a:pt x="697" y="356"/>
                  <a:pt x="697" y="356"/>
                  <a:pt x="697" y="356"/>
                </a:cubicBezTo>
                <a:cubicBezTo>
                  <a:pt x="611" y="356"/>
                  <a:pt x="611" y="356"/>
                  <a:pt x="611" y="356"/>
                </a:cubicBezTo>
                <a:cubicBezTo>
                  <a:pt x="611" y="0"/>
                  <a:pt x="611" y="0"/>
                  <a:pt x="611" y="0"/>
                </a:cubicBezTo>
                <a:cubicBezTo>
                  <a:pt x="932" y="0"/>
                  <a:pt x="932" y="0"/>
                  <a:pt x="932" y="0"/>
                </a:cubicBezTo>
                <a:cubicBezTo>
                  <a:pt x="989" y="0"/>
                  <a:pt x="1015" y="19"/>
                  <a:pt x="1015" y="69"/>
                </a:cubicBezTo>
                <a:close/>
                <a:moveTo>
                  <a:pt x="934" y="90"/>
                </a:moveTo>
                <a:cubicBezTo>
                  <a:pt x="934" y="67"/>
                  <a:pt x="921" y="61"/>
                  <a:pt x="895" y="61"/>
                </a:cubicBezTo>
                <a:cubicBezTo>
                  <a:pt x="697" y="61"/>
                  <a:pt x="697" y="61"/>
                  <a:pt x="697" y="61"/>
                </a:cubicBezTo>
                <a:cubicBezTo>
                  <a:pt x="697" y="156"/>
                  <a:pt x="697" y="156"/>
                  <a:pt x="697" y="156"/>
                </a:cubicBezTo>
                <a:cubicBezTo>
                  <a:pt x="895" y="156"/>
                  <a:pt x="895" y="156"/>
                  <a:pt x="895" y="156"/>
                </a:cubicBezTo>
                <a:cubicBezTo>
                  <a:pt x="921" y="156"/>
                  <a:pt x="934" y="151"/>
                  <a:pt x="934" y="127"/>
                </a:cubicBezTo>
                <a:lnTo>
                  <a:pt x="934" y="90"/>
                </a:lnTo>
                <a:close/>
                <a:moveTo>
                  <a:pt x="8648" y="356"/>
                </a:moveTo>
                <a:cubicBezTo>
                  <a:pt x="8735" y="356"/>
                  <a:pt x="8735" y="356"/>
                  <a:pt x="8735" y="356"/>
                </a:cubicBezTo>
                <a:cubicBezTo>
                  <a:pt x="8735" y="0"/>
                  <a:pt x="8735" y="0"/>
                  <a:pt x="8735" y="0"/>
                </a:cubicBezTo>
                <a:cubicBezTo>
                  <a:pt x="8648" y="0"/>
                  <a:pt x="8648" y="0"/>
                  <a:pt x="8648" y="0"/>
                </a:cubicBezTo>
                <a:lnTo>
                  <a:pt x="8648" y="356"/>
                </a:lnTo>
                <a:close/>
                <a:moveTo>
                  <a:pt x="6051" y="237"/>
                </a:moveTo>
                <a:cubicBezTo>
                  <a:pt x="5749" y="0"/>
                  <a:pt x="5749" y="0"/>
                  <a:pt x="5749" y="0"/>
                </a:cubicBezTo>
                <a:cubicBezTo>
                  <a:pt x="5689" y="0"/>
                  <a:pt x="5689" y="0"/>
                  <a:pt x="5689" y="0"/>
                </a:cubicBezTo>
                <a:cubicBezTo>
                  <a:pt x="5689" y="356"/>
                  <a:pt x="5689" y="356"/>
                  <a:pt x="5689" y="356"/>
                </a:cubicBezTo>
                <a:cubicBezTo>
                  <a:pt x="5768" y="356"/>
                  <a:pt x="5768" y="356"/>
                  <a:pt x="5768" y="356"/>
                </a:cubicBezTo>
                <a:cubicBezTo>
                  <a:pt x="5768" y="116"/>
                  <a:pt x="5768" y="116"/>
                  <a:pt x="5768" y="116"/>
                </a:cubicBezTo>
                <a:cubicBezTo>
                  <a:pt x="6070" y="356"/>
                  <a:pt x="6070" y="356"/>
                  <a:pt x="6070" y="356"/>
                </a:cubicBezTo>
                <a:cubicBezTo>
                  <a:pt x="6129" y="356"/>
                  <a:pt x="6129" y="356"/>
                  <a:pt x="6129" y="356"/>
                </a:cubicBezTo>
                <a:cubicBezTo>
                  <a:pt x="6129" y="0"/>
                  <a:pt x="6129" y="0"/>
                  <a:pt x="6129" y="0"/>
                </a:cubicBezTo>
                <a:cubicBezTo>
                  <a:pt x="6051" y="0"/>
                  <a:pt x="6051" y="0"/>
                  <a:pt x="6051" y="0"/>
                </a:cubicBezTo>
                <a:lnTo>
                  <a:pt x="6051" y="237"/>
                </a:lnTo>
                <a:close/>
                <a:moveTo>
                  <a:pt x="5444" y="0"/>
                </a:moveTo>
                <a:cubicBezTo>
                  <a:pt x="5444" y="178"/>
                  <a:pt x="5444" y="178"/>
                  <a:pt x="5444" y="178"/>
                </a:cubicBezTo>
                <a:cubicBezTo>
                  <a:pt x="5444" y="356"/>
                  <a:pt x="5444" y="356"/>
                  <a:pt x="5444" y="356"/>
                </a:cubicBezTo>
                <a:cubicBezTo>
                  <a:pt x="5487" y="356"/>
                  <a:pt x="5487" y="356"/>
                  <a:pt x="5487" y="356"/>
                </a:cubicBezTo>
                <a:cubicBezTo>
                  <a:pt x="5531" y="356"/>
                  <a:pt x="5531" y="356"/>
                  <a:pt x="5531" y="356"/>
                </a:cubicBezTo>
                <a:cubicBezTo>
                  <a:pt x="5531" y="178"/>
                  <a:pt x="5531" y="178"/>
                  <a:pt x="5531" y="178"/>
                </a:cubicBezTo>
                <a:cubicBezTo>
                  <a:pt x="5531" y="0"/>
                  <a:pt x="5531" y="0"/>
                  <a:pt x="5531" y="0"/>
                </a:cubicBezTo>
                <a:cubicBezTo>
                  <a:pt x="5531" y="0"/>
                  <a:pt x="5531" y="0"/>
                  <a:pt x="5531" y="0"/>
                </a:cubicBezTo>
                <a:cubicBezTo>
                  <a:pt x="5444" y="0"/>
                  <a:pt x="5444" y="0"/>
                  <a:pt x="5444" y="0"/>
                </a:cubicBezTo>
                <a:close/>
                <a:moveTo>
                  <a:pt x="6288" y="356"/>
                </a:moveTo>
                <a:cubicBezTo>
                  <a:pt x="6375" y="356"/>
                  <a:pt x="6375" y="356"/>
                  <a:pt x="6375" y="356"/>
                </a:cubicBezTo>
                <a:cubicBezTo>
                  <a:pt x="6375" y="0"/>
                  <a:pt x="6375" y="0"/>
                  <a:pt x="6375" y="0"/>
                </a:cubicBezTo>
                <a:cubicBezTo>
                  <a:pt x="6288" y="0"/>
                  <a:pt x="6288" y="0"/>
                  <a:pt x="6288" y="0"/>
                </a:cubicBezTo>
                <a:lnTo>
                  <a:pt x="6288" y="356"/>
                </a:lnTo>
                <a:close/>
                <a:moveTo>
                  <a:pt x="5042" y="211"/>
                </a:moveTo>
                <a:cubicBezTo>
                  <a:pt x="4868" y="0"/>
                  <a:pt x="4868" y="0"/>
                  <a:pt x="4868" y="0"/>
                </a:cubicBezTo>
                <a:cubicBezTo>
                  <a:pt x="4798" y="0"/>
                  <a:pt x="4798" y="0"/>
                  <a:pt x="4798" y="0"/>
                </a:cubicBezTo>
                <a:cubicBezTo>
                  <a:pt x="4798" y="356"/>
                  <a:pt x="4798" y="356"/>
                  <a:pt x="4798" y="356"/>
                </a:cubicBezTo>
                <a:cubicBezTo>
                  <a:pt x="4868" y="356"/>
                  <a:pt x="4868" y="356"/>
                  <a:pt x="4868" y="356"/>
                </a:cubicBezTo>
                <a:cubicBezTo>
                  <a:pt x="4868" y="117"/>
                  <a:pt x="4868" y="117"/>
                  <a:pt x="4868" y="117"/>
                </a:cubicBezTo>
                <a:cubicBezTo>
                  <a:pt x="5029" y="313"/>
                  <a:pt x="5029" y="313"/>
                  <a:pt x="5029" y="313"/>
                </a:cubicBezTo>
                <a:cubicBezTo>
                  <a:pt x="5046" y="313"/>
                  <a:pt x="5046" y="313"/>
                  <a:pt x="5046" y="313"/>
                </a:cubicBezTo>
                <a:cubicBezTo>
                  <a:pt x="5205" y="111"/>
                  <a:pt x="5205" y="111"/>
                  <a:pt x="5205" y="111"/>
                </a:cubicBezTo>
                <a:cubicBezTo>
                  <a:pt x="5205" y="356"/>
                  <a:pt x="5205" y="356"/>
                  <a:pt x="5205" y="356"/>
                </a:cubicBezTo>
                <a:cubicBezTo>
                  <a:pt x="5286" y="356"/>
                  <a:pt x="5286" y="356"/>
                  <a:pt x="5286" y="356"/>
                </a:cubicBezTo>
                <a:cubicBezTo>
                  <a:pt x="5286" y="0"/>
                  <a:pt x="5286" y="0"/>
                  <a:pt x="5286" y="0"/>
                </a:cubicBezTo>
                <a:cubicBezTo>
                  <a:pt x="5216" y="0"/>
                  <a:pt x="5216" y="0"/>
                  <a:pt x="5216" y="0"/>
                </a:cubicBezTo>
                <a:lnTo>
                  <a:pt x="5042" y="211"/>
                </a:lnTo>
                <a:close/>
                <a:moveTo>
                  <a:pt x="3589" y="0"/>
                </a:moveTo>
                <a:cubicBezTo>
                  <a:pt x="3804" y="356"/>
                  <a:pt x="3804" y="356"/>
                  <a:pt x="3804" y="356"/>
                </a:cubicBezTo>
                <a:cubicBezTo>
                  <a:pt x="3706" y="356"/>
                  <a:pt x="3706" y="356"/>
                  <a:pt x="3706" y="356"/>
                </a:cubicBezTo>
                <a:cubicBezTo>
                  <a:pt x="3662" y="278"/>
                  <a:pt x="3662" y="278"/>
                  <a:pt x="3662" y="278"/>
                </a:cubicBezTo>
                <a:cubicBezTo>
                  <a:pt x="3426" y="278"/>
                  <a:pt x="3426" y="278"/>
                  <a:pt x="3426" y="278"/>
                </a:cubicBezTo>
                <a:cubicBezTo>
                  <a:pt x="3381" y="356"/>
                  <a:pt x="3381" y="356"/>
                  <a:pt x="3381" y="356"/>
                </a:cubicBezTo>
                <a:cubicBezTo>
                  <a:pt x="3294" y="356"/>
                  <a:pt x="3294" y="356"/>
                  <a:pt x="3294" y="356"/>
                </a:cubicBezTo>
                <a:cubicBezTo>
                  <a:pt x="3506" y="0"/>
                  <a:pt x="3506" y="0"/>
                  <a:pt x="3506" y="0"/>
                </a:cubicBezTo>
                <a:lnTo>
                  <a:pt x="3589" y="0"/>
                </a:lnTo>
                <a:close/>
                <a:moveTo>
                  <a:pt x="3626" y="213"/>
                </a:moveTo>
                <a:cubicBezTo>
                  <a:pt x="3543" y="65"/>
                  <a:pt x="3543" y="65"/>
                  <a:pt x="3543" y="65"/>
                </a:cubicBezTo>
                <a:cubicBezTo>
                  <a:pt x="3463" y="213"/>
                  <a:pt x="3463" y="213"/>
                  <a:pt x="3463" y="213"/>
                </a:cubicBezTo>
                <a:lnTo>
                  <a:pt x="3626" y="213"/>
                </a:lnTo>
                <a:close/>
                <a:moveTo>
                  <a:pt x="7676" y="202"/>
                </a:moveTo>
                <a:cubicBezTo>
                  <a:pt x="7848" y="202"/>
                  <a:pt x="7848" y="202"/>
                  <a:pt x="7848" y="202"/>
                </a:cubicBezTo>
                <a:cubicBezTo>
                  <a:pt x="7848" y="141"/>
                  <a:pt x="7848" y="141"/>
                  <a:pt x="7848" y="141"/>
                </a:cubicBezTo>
                <a:cubicBezTo>
                  <a:pt x="7676" y="141"/>
                  <a:pt x="7676" y="141"/>
                  <a:pt x="7676" y="141"/>
                </a:cubicBezTo>
                <a:cubicBezTo>
                  <a:pt x="7676" y="63"/>
                  <a:pt x="7676" y="63"/>
                  <a:pt x="7676" y="63"/>
                </a:cubicBezTo>
                <a:cubicBezTo>
                  <a:pt x="7971" y="63"/>
                  <a:pt x="7971" y="63"/>
                  <a:pt x="7971" y="63"/>
                </a:cubicBezTo>
                <a:cubicBezTo>
                  <a:pt x="7971" y="0"/>
                  <a:pt x="7971" y="0"/>
                  <a:pt x="7971" y="0"/>
                </a:cubicBezTo>
                <a:cubicBezTo>
                  <a:pt x="7589" y="0"/>
                  <a:pt x="7589" y="0"/>
                  <a:pt x="7589" y="0"/>
                </a:cubicBezTo>
                <a:cubicBezTo>
                  <a:pt x="7589" y="356"/>
                  <a:pt x="7589" y="356"/>
                  <a:pt x="7589" y="356"/>
                </a:cubicBezTo>
                <a:cubicBezTo>
                  <a:pt x="7975" y="356"/>
                  <a:pt x="7975" y="356"/>
                  <a:pt x="7975" y="356"/>
                </a:cubicBezTo>
                <a:cubicBezTo>
                  <a:pt x="7975" y="290"/>
                  <a:pt x="7975" y="290"/>
                  <a:pt x="7975" y="290"/>
                </a:cubicBezTo>
                <a:cubicBezTo>
                  <a:pt x="7676" y="290"/>
                  <a:pt x="7676" y="290"/>
                  <a:pt x="7676" y="290"/>
                </a:cubicBezTo>
                <a:lnTo>
                  <a:pt x="7676" y="202"/>
                </a:lnTo>
                <a:close/>
                <a:moveTo>
                  <a:pt x="4164" y="221"/>
                </a:moveTo>
                <a:cubicBezTo>
                  <a:pt x="4334" y="356"/>
                  <a:pt x="4334" y="356"/>
                  <a:pt x="4334" y="356"/>
                </a:cubicBezTo>
                <a:cubicBezTo>
                  <a:pt x="4209" y="356"/>
                  <a:pt x="4209" y="356"/>
                  <a:pt x="4209" y="356"/>
                </a:cubicBezTo>
                <a:cubicBezTo>
                  <a:pt x="4060" y="221"/>
                  <a:pt x="4060" y="221"/>
                  <a:pt x="4060" y="221"/>
                </a:cubicBezTo>
                <a:cubicBezTo>
                  <a:pt x="3978" y="221"/>
                  <a:pt x="3978" y="221"/>
                  <a:pt x="3978" y="221"/>
                </a:cubicBezTo>
                <a:cubicBezTo>
                  <a:pt x="3978" y="356"/>
                  <a:pt x="3978" y="356"/>
                  <a:pt x="3978" y="356"/>
                </a:cubicBezTo>
                <a:cubicBezTo>
                  <a:pt x="3892" y="356"/>
                  <a:pt x="3892" y="356"/>
                  <a:pt x="3892" y="356"/>
                </a:cubicBezTo>
                <a:cubicBezTo>
                  <a:pt x="3892" y="0"/>
                  <a:pt x="3892" y="0"/>
                  <a:pt x="3892" y="0"/>
                </a:cubicBezTo>
                <a:cubicBezTo>
                  <a:pt x="4213" y="0"/>
                  <a:pt x="4213" y="0"/>
                  <a:pt x="4213" y="0"/>
                </a:cubicBezTo>
                <a:cubicBezTo>
                  <a:pt x="4270" y="0"/>
                  <a:pt x="4296" y="19"/>
                  <a:pt x="4296" y="69"/>
                </a:cubicBezTo>
                <a:cubicBezTo>
                  <a:pt x="4296" y="153"/>
                  <a:pt x="4296" y="153"/>
                  <a:pt x="4296" y="153"/>
                </a:cubicBezTo>
                <a:cubicBezTo>
                  <a:pt x="4296" y="202"/>
                  <a:pt x="4270" y="221"/>
                  <a:pt x="4213" y="221"/>
                </a:cubicBezTo>
                <a:lnTo>
                  <a:pt x="4164" y="221"/>
                </a:lnTo>
                <a:close/>
                <a:moveTo>
                  <a:pt x="4176" y="160"/>
                </a:moveTo>
                <a:cubicBezTo>
                  <a:pt x="4202" y="160"/>
                  <a:pt x="4216" y="155"/>
                  <a:pt x="4216" y="131"/>
                </a:cubicBezTo>
                <a:cubicBezTo>
                  <a:pt x="4216" y="90"/>
                  <a:pt x="4216" y="90"/>
                  <a:pt x="4216" y="90"/>
                </a:cubicBezTo>
                <a:cubicBezTo>
                  <a:pt x="4216" y="67"/>
                  <a:pt x="4202" y="61"/>
                  <a:pt x="4176" y="61"/>
                </a:cubicBezTo>
                <a:cubicBezTo>
                  <a:pt x="3978" y="61"/>
                  <a:pt x="3978" y="61"/>
                  <a:pt x="3978" y="61"/>
                </a:cubicBezTo>
                <a:cubicBezTo>
                  <a:pt x="3978" y="160"/>
                  <a:pt x="3978" y="160"/>
                  <a:pt x="3978" y="160"/>
                </a:cubicBezTo>
                <a:lnTo>
                  <a:pt x="4176" y="160"/>
                </a:lnTo>
                <a:close/>
                <a:moveTo>
                  <a:pt x="3015" y="0"/>
                </a:moveTo>
                <a:cubicBezTo>
                  <a:pt x="3230" y="356"/>
                  <a:pt x="3230" y="356"/>
                  <a:pt x="3230" y="356"/>
                </a:cubicBezTo>
                <a:cubicBezTo>
                  <a:pt x="3132" y="356"/>
                  <a:pt x="3132" y="356"/>
                  <a:pt x="3132" y="356"/>
                </a:cubicBezTo>
                <a:cubicBezTo>
                  <a:pt x="3088" y="278"/>
                  <a:pt x="3088" y="278"/>
                  <a:pt x="3088" y="278"/>
                </a:cubicBezTo>
                <a:cubicBezTo>
                  <a:pt x="2852" y="278"/>
                  <a:pt x="2852" y="278"/>
                  <a:pt x="2852" y="278"/>
                </a:cubicBezTo>
                <a:cubicBezTo>
                  <a:pt x="2807" y="356"/>
                  <a:pt x="2807" y="356"/>
                  <a:pt x="2807" y="356"/>
                </a:cubicBezTo>
                <a:cubicBezTo>
                  <a:pt x="2721" y="356"/>
                  <a:pt x="2721" y="356"/>
                  <a:pt x="2721" y="356"/>
                </a:cubicBezTo>
                <a:cubicBezTo>
                  <a:pt x="2932" y="0"/>
                  <a:pt x="2932" y="0"/>
                  <a:pt x="2932" y="0"/>
                </a:cubicBezTo>
                <a:lnTo>
                  <a:pt x="3015" y="0"/>
                </a:lnTo>
                <a:close/>
                <a:moveTo>
                  <a:pt x="3052" y="213"/>
                </a:moveTo>
                <a:cubicBezTo>
                  <a:pt x="2969" y="65"/>
                  <a:pt x="2969" y="65"/>
                  <a:pt x="2969" y="65"/>
                </a:cubicBezTo>
                <a:cubicBezTo>
                  <a:pt x="2889" y="213"/>
                  <a:pt x="2889" y="213"/>
                  <a:pt x="2889" y="213"/>
                </a:cubicBezTo>
                <a:lnTo>
                  <a:pt x="3052" y="213"/>
                </a:lnTo>
                <a:close/>
                <a:moveTo>
                  <a:pt x="7046" y="64"/>
                </a:moveTo>
                <a:cubicBezTo>
                  <a:pt x="7217" y="64"/>
                  <a:pt x="7217" y="64"/>
                  <a:pt x="7217" y="64"/>
                </a:cubicBezTo>
                <a:cubicBezTo>
                  <a:pt x="7217" y="356"/>
                  <a:pt x="7217" y="356"/>
                  <a:pt x="7217" y="356"/>
                </a:cubicBezTo>
                <a:cubicBezTo>
                  <a:pt x="7304" y="356"/>
                  <a:pt x="7304" y="356"/>
                  <a:pt x="7304" y="356"/>
                </a:cubicBezTo>
                <a:cubicBezTo>
                  <a:pt x="7304" y="64"/>
                  <a:pt x="7304" y="64"/>
                  <a:pt x="7304" y="64"/>
                </a:cubicBezTo>
                <a:cubicBezTo>
                  <a:pt x="7477" y="64"/>
                  <a:pt x="7477" y="64"/>
                  <a:pt x="7477" y="64"/>
                </a:cubicBezTo>
                <a:cubicBezTo>
                  <a:pt x="7477" y="0"/>
                  <a:pt x="7477" y="0"/>
                  <a:pt x="7477" y="0"/>
                </a:cubicBezTo>
                <a:cubicBezTo>
                  <a:pt x="7046" y="0"/>
                  <a:pt x="7046" y="0"/>
                  <a:pt x="7046" y="0"/>
                </a:cubicBezTo>
                <a:lnTo>
                  <a:pt x="704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7" name="Tijdelijke aanduiding voor voettekst 6"/>
          <p:cNvSpPr>
            <a:spLocks noGrp="1" noSelect="1"/>
          </p:cNvSpPr>
          <p:nvPr>
            <p:ph type="ftr" sz="quarter" idx="3"/>
          </p:nvPr>
        </p:nvSpPr>
        <p:spPr bwMode="gray">
          <a:xfrm>
            <a:off x="1080000" y="6487389"/>
            <a:ext cx="10116000" cy="307765"/>
          </a:xfrm>
          <a:prstGeom prst="rect">
            <a:avLst/>
          </a:prstGeom>
        </p:spPr>
        <p:txBody>
          <a:bodyPr vert="horz" lIns="0" tIns="0" rIns="0" bIns="0" rtlCol="0" anchor="ctr"/>
          <a:lstStyle>
            <a:lvl1pPr algn="l">
              <a:defRPr sz="1400">
                <a:solidFill>
                  <a:schemeClr val="tx1"/>
                </a:solidFill>
              </a:defRPr>
            </a:lvl1pPr>
          </a:lstStyle>
          <a:p>
            <a:r>
              <a:rPr lang="nl-NL" noProof="1"/>
              <a:t>[Plaats hier de aanduiding van het OM onderdeel]</a:t>
            </a:r>
          </a:p>
        </p:txBody>
      </p:sp>
      <p:sp>
        <p:nvSpPr>
          <p:cNvPr id="14" name="Tijdelijke aanduiding voor dianummer 5"/>
          <p:cNvSpPr>
            <a:spLocks noGrp="1" noSelect="1"/>
          </p:cNvSpPr>
          <p:nvPr>
            <p:ph type="sldNum" sz="quarter" idx="4"/>
          </p:nvPr>
        </p:nvSpPr>
        <p:spPr bwMode="gray">
          <a:xfrm>
            <a:off x="10578904" y="86390"/>
            <a:ext cx="871302" cy="360000"/>
          </a:xfrm>
          <a:prstGeom prst="rect">
            <a:avLst/>
          </a:prstGeom>
        </p:spPr>
        <p:txBody>
          <a:bodyPr vert="horz" lIns="0" tIns="0" rIns="0" bIns="0" rtlCol="0" anchor="b">
            <a:noAutofit/>
          </a:bodyPr>
          <a:lstStyle>
            <a:lvl1pPr algn="l">
              <a:defRPr sz="1100">
                <a:solidFill>
                  <a:srgbClr val="000000"/>
                </a:solidFill>
                <a:latin typeface="Arial" panose="020B0604020202020204" pitchFamily="34" charset="0"/>
                <a:cs typeface="Arial" panose="020B0604020202020204" pitchFamily="34" charset="0"/>
              </a:defRPr>
            </a:lvl1pPr>
          </a:lstStyle>
          <a:p>
            <a:r>
              <a:rPr lang="nl-NL" noProof="1"/>
              <a:t>pagina </a:t>
            </a:r>
            <a:fld id="{1336C48C-F87C-4E4B-81EF-5027B17D1F61}" type="slidenum">
              <a:rPr lang="nl-NL" noProof="1" smtClean="0"/>
              <a:pPr/>
              <a:t>‹nr.›</a:t>
            </a:fld>
            <a:endParaRPr lang="nl-NL" noProof="1"/>
          </a:p>
        </p:txBody>
      </p:sp>
    </p:spTree>
    <p:extLst>
      <p:ext uri="{BB962C8B-B14F-4D97-AF65-F5344CB8AC3E}">
        <p14:creationId xmlns:p14="http://schemas.microsoft.com/office/powerpoint/2010/main" val="271785124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sldNum="0" hdr="0" ftr="0" dt="0"/>
  <p:txStyles>
    <p:titleStyle>
      <a:lvl1pPr algn="l" defTabSz="1088502" rtl="0" eaLnBrk="1" latinLnBrk="0" hangingPunct="1">
        <a:spcBef>
          <a:spcPct val="0"/>
        </a:spcBef>
        <a:buNone/>
        <a:defRPr sz="2400" b="1" kern="1200">
          <a:solidFill>
            <a:schemeClr val="tx1"/>
          </a:solidFill>
          <a:latin typeface="+mj-lt"/>
          <a:ea typeface="+mj-ea"/>
          <a:cs typeface="+mj-cs"/>
        </a:defRPr>
      </a:lvl1pPr>
    </p:titleStyle>
    <p:bodyStyle>
      <a:lvl1pPr marL="270000" indent="-270000" algn="l" defTabSz="1088502" rtl="0" eaLnBrk="1" latinLnBrk="0" hangingPunct="1">
        <a:spcBef>
          <a:spcPts val="0"/>
        </a:spcBef>
        <a:buFont typeface="Arial" pitchFamily="34" charset="0"/>
        <a:buChar char="•"/>
        <a:defRPr sz="1800" b="0" kern="1200" baseline="0">
          <a:solidFill>
            <a:schemeClr val="tx1"/>
          </a:solidFill>
          <a:latin typeface="+mn-lt"/>
          <a:ea typeface="+mn-ea"/>
          <a:cs typeface="+mn-cs"/>
        </a:defRPr>
      </a:lvl1pPr>
      <a:lvl2pPr marL="540000" indent="-270000" algn="l" defTabSz="1088502" rtl="0" eaLnBrk="1" latinLnBrk="0" hangingPunct="1">
        <a:spcBef>
          <a:spcPts val="0"/>
        </a:spcBef>
        <a:buFont typeface="Arial" pitchFamily="34" charset="0"/>
        <a:buChar char="•"/>
        <a:defRPr sz="1800" kern="1200">
          <a:solidFill>
            <a:schemeClr val="tx1"/>
          </a:solidFill>
          <a:latin typeface="+mn-lt"/>
          <a:ea typeface="+mn-ea"/>
          <a:cs typeface="+mn-cs"/>
        </a:defRPr>
      </a:lvl2pPr>
      <a:lvl3pPr marL="810000" indent="-270000" algn="l" defTabSz="1088502" rtl="0" eaLnBrk="1" latinLnBrk="0" hangingPunct="1">
        <a:spcBef>
          <a:spcPts val="0"/>
        </a:spcBef>
        <a:buFont typeface="Arial" pitchFamily="34" charset="0"/>
        <a:buChar char="•"/>
        <a:defRPr sz="1800" b="0" kern="1200">
          <a:solidFill>
            <a:schemeClr val="tx1"/>
          </a:solidFill>
          <a:latin typeface="+mn-lt"/>
          <a:ea typeface="+mn-ea"/>
          <a:cs typeface="+mn-cs"/>
        </a:defRPr>
      </a:lvl3pPr>
      <a:lvl4pPr marL="0" indent="0" algn="l" defTabSz="1088502" rtl="0" eaLnBrk="1" latinLnBrk="0" hangingPunct="1">
        <a:spcBef>
          <a:spcPts val="1800"/>
        </a:spcBef>
        <a:spcAft>
          <a:spcPts val="800"/>
        </a:spcAft>
        <a:buFont typeface="Arial" pitchFamily="34" charset="0"/>
        <a:buNone/>
        <a:defRPr sz="1800" b="1" kern="1200">
          <a:solidFill>
            <a:schemeClr val="tx1"/>
          </a:solidFill>
          <a:latin typeface="+mn-lt"/>
          <a:ea typeface="+mn-ea"/>
          <a:cs typeface="+mn-cs"/>
        </a:defRPr>
      </a:lvl4pPr>
      <a:lvl5pPr marL="0" indent="0" algn="l" defTabSz="1088502" rtl="0" eaLnBrk="1" latinLnBrk="0" hangingPunct="1">
        <a:spcBef>
          <a:spcPts val="0"/>
        </a:spcBef>
        <a:buFont typeface="Arial" pitchFamily="34" charset="0"/>
        <a:buNone/>
        <a:defRPr sz="1800" kern="1200">
          <a:solidFill>
            <a:schemeClr val="tx1"/>
          </a:solidFill>
          <a:latin typeface="+mn-lt"/>
          <a:ea typeface="+mn-ea"/>
          <a:cs typeface="+mn-cs"/>
        </a:defRPr>
      </a:lvl5pPr>
      <a:lvl6pPr marL="270000" indent="0" algn="l" defTabSz="1088502" rtl="0" eaLnBrk="1" latinLnBrk="0" hangingPunct="1">
        <a:spcBef>
          <a:spcPts val="0"/>
        </a:spcBef>
        <a:buFont typeface="Arial" pitchFamily="34" charset="0"/>
        <a:buNone/>
        <a:defRPr sz="1800" kern="1200">
          <a:solidFill>
            <a:schemeClr val="tx1"/>
          </a:solidFill>
          <a:latin typeface="+mn-lt"/>
          <a:ea typeface="+mn-ea"/>
          <a:cs typeface="+mn-cs"/>
        </a:defRPr>
      </a:lvl6pPr>
      <a:lvl7pPr marL="540000" indent="0" algn="l" defTabSz="1088502" rtl="0" eaLnBrk="1" latinLnBrk="0" hangingPunct="1">
        <a:spcBef>
          <a:spcPts val="0"/>
        </a:spcBef>
        <a:buFont typeface="Arial" pitchFamily="34" charset="0"/>
        <a:buNone/>
        <a:defRPr sz="1800" kern="1200">
          <a:solidFill>
            <a:schemeClr val="tx1"/>
          </a:solidFill>
          <a:latin typeface="+mn-lt"/>
          <a:ea typeface="+mn-ea"/>
          <a:cs typeface="+mn-cs"/>
        </a:defRPr>
      </a:lvl7pPr>
      <a:lvl8pPr marL="810000" indent="0" algn="l" defTabSz="1088502" rtl="0" eaLnBrk="1" latinLnBrk="0" hangingPunct="1">
        <a:spcBef>
          <a:spcPts val="0"/>
        </a:spcBef>
        <a:buFont typeface="Arial" pitchFamily="34" charset="0"/>
        <a:buNone/>
        <a:defRPr sz="1800" kern="1200">
          <a:solidFill>
            <a:schemeClr val="tx1"/>
          </a:solidFill>
          <a:latin typeface="+mn-lt"/>
          <a:ea typeface="+mn-ea"/>
          <a:cs typeface="+mn-cs"/>
        </a:defRPr>
      </a:lvl8pPr>
      <a:lvl9pPr marL="0" indent="0" algn="l" defTabSz="1088502" rtl="0" eaLnBrk="1" latinLnBrk="0" hangingPunct="1">
        <a:spcBef>
          <a:spcPts val="0"/>
        </a:spcBef>
        <a:buFont typeface="Arial" pitchFamily="34" charset="0"/>
        <a:buNone/>
        <a:defRPr sz="1800" i="1" kern="1200" baseline="0">
          <a:solidFill>
            <a:schemeClr val="tx1"/>
          </a:solidFill>
          <a:latin typeface="+mn-lt"/>
          <a:ea typeface="+mn-ea"/>
          <a:cs typeface="+mn-cs"/>
        </a:defRPr>
      </a:lvl9pPr>
    </p:bodyStyle>
    <p:otherStyle>
      <a:defPPr>
        <a:defRPr lang="nl-NL"/>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A1E2EA-2F48-435B-B243-88E397C627C4}"/>
              </a:ext>
            </a:extLst>
          </p:cNvPr>
          <p:cNvGraphicFramePr>
            <a:graphicFrameLocks noChangeAspect="1"/>
          </p:cNvGraphicFramePr>
          <p:nvPr userDrawn="1">
            <p:custDataLst>
              <p:tags r:id="rId11"/>
            </p:custDataLst>
            <p:extLst>
              <p:ext uri="{D42A27DB-BD31-4B8C-83A1-F6EECF244321}">
                <p14:modId xmlns:p14="http://schemas.microsoft.com/office/powerpoint/2010/main" val="1711908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 name="think-cell Slide" r:id="rId12" imgW="592" imgH="595" progId="TCLayout.ActiveDocument.1">
                  <p:embed/>
                </p:oleObj>
              </mc:Choice>
              <mc:Fallback>
                <p:oleObj name="think-cell Slide" r:id="rId12" imgW="592" imgH="595" progId="TCLayout.ActiveDocument.1">
                  <p:embed/>
                  <p:pic>
                    <p:nvPicPr>
                      <p:cNvPr id="5" name="Object 4" hidden="1">
                        <a:extLst>
                          <a:ext uri="{FF2B5EF4-FFF2-40B4-BE49-F238E27FC236}">
                            <a16:creationId xmlns:a16="http://schemas.microsoft.com/office/drawing/2014/main" id="{33A1E2EA-2F48-435B-B243-88E397C627C4}"/>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3" name="Rectangle 8"/>
          <p:cNvSpPr>
            <a:spLocks noSelect="1" noChangeArrowheads="1"/>
          </p:cNvSpPr>
          <p:nvPr userDrawn="1"/>
        </p:nvSpPr>
        <p:spPr bwMode="gray">
          <a:xfrm>
            <a:off x="0" y="1709738"/>
            <a:ext cx="12189600" cy="4248150"/>
          </a:xfrm>
          <a:prstGeom prst="rect">
            <a:avLst/>
          </a:prstGeom>
          <a:solidFill>
            <a:srgbClr val="DBF0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1" hangingPunct="1">
              <a:defRPr/>
            </a:pPr>
            <a:endParaRPr lang="nl-NL" sz="2142" dirty="0">
              <a:latin typeface="Arial Black" charset="0"/>
            </a:endParaRPr>
          </a:p>
        </p:txBody>
      </p:sp>
      <p:sp>
        <p:nvSpPr>
          <p:cNvPr id="2" name="Tijdelijke aanduiding voor titel 1"/>
          <p:cNvSpPr>
            <a:spLocks noGrp="1" noSelect="1"/>
          </p:cNvSpPr>
          <p:nvPr>
            <p:ph type="title"/>
          </p:nvPr>
        </p:nvSpPr>
        <p:spPr bwMode="gray">
          <a:xfrm>
            <a:off x="1081183" y="572872"/>
            <a:ext cx="10080000" cy="868556"/>
          </a:xfrm>
          <a:prstGeom prst="rect">
            <a:avLst/>
          </a:prstGeom>
        </p:spPr>
        <p:txBody>
          <a:bodyPr vert="horz" lIns="0" tIns="0" rIns="0" bIns="0" rtlCol="0" anchor="b">
            <a:noAutofit/>
          </a:bodyPr>
          <a:lstStyle/>
          <a:p>
            <a:r>
              <a:rPr lang="nl-NL" noProof="1"/>
              <a:t>Klik om de stijl te bewerken</a:t>
            </a:r>
          </a:p>
        </p:txBody>
      </p:sp>
      <p:sp>
        <p:nvSpPr>
          <p:cNvPr id="3" name="Tijdelijke aanduiding voor tekst 2 (JU-Free)"/>
          <p:cNvSpPr>
            <a:spLocks noGrp="1"/>
          </p:cNvSpPr>
          <p:nvPr>
            <p:ph type="body" idx="1"/>
          </p:nvPr>
        </p:nvSpPr>
        <p:spPr bwMode="gray">
          <a:xfrm>
            <a:off x="1080000" y="1895040"/>
            <a:ext cx="10080000" cy="3888000"/>
          </a:xfrm>
          <a:prstGeom prst="rect">
            <a:avLst/>
          </a:prstGeom>
        </p:spPr>
        <p:txBody>
          <a:bodyPr vert="horz" lIns="0" tIns="0" rIns="0" bIns="0" rtlCol="0">
            <a:noAutofit/>
          </a:bodyPr>
          <a:lstStyle/>
          <a:p>
            <a:pPr lvl="0"/>
            <a:r>
              <a:rPr lang="nl-NL" noProof="1"/>
              <a:t>JU-LEVEL1=Opsomming 1e niveauetuer adipiscing elit</a:t>
            </a:r>
          </a:p>
          <a:p>
            <a:pPr lvl="1"/>
            <a:r>
              <a:rPr lang="nl-NL" noProof="1"/>
              <a:t>JU-LEVEL2=Opsomming 2e niveau</a:t>
            </a:r>
          </a:p>
          <a:p>
            <a:pPr lvl="2"/>
            <a:r>
              <a:rPr lang="nl-NL" noProof="1"/>
              <a:t>JU-LEVEL3=Opsomming 3e niveau</a:t>
            </a:r>
          </a:p>
          <a:p>
            <a:pPr lvl="3"/>
            <a:r>
              <a:rPr lang="nl-NL" noProof="1"/>
              <a:t>JU-LEVEL4=Kop</a:t>
            </a:r>
          </a:p>
          <a:p>
            <a:pPr lvl="4"/>
            <a:r>
              <a:rPr lang="nl-NL" noProof="1"/>
              <a:t>JU-LEVEL5=Basistekst</a:t>
            </a:r>
          </a:p>
          <a:p>
            <a:pPr lvl="5"/>
            <a:r>
              <a:rPr lang="nl-NL" noProof="1"/>
              <a:t>JU-LEVEL6=Inspring 1e niveau</a:t>
            </a:r>
          </a:p>
          <a:p>
            <a:pPr lvl="6"/>
            <a:r>
              <a:rPr lang="nl-NL" noProof="1"/>
              <a:t>JU-LEVEL7=Inspring 2e niveau</a:t>
            </a:r>
          </a:p>
          <a:p>
            <a:pPr lvl="7"/>
            <a:r>
              <a:rPr lang="nl-NL" noProof="1"/>
              <a:t>JU-LEVEL8=Inspring 3e niveau</a:t>
            </a:r>
          </a:p>
          <a:p>
            <a:pPr lvl="8"/>
            <a:r>
              <a:rPr lang="nl-NL" noProof="1"/>
              <a:t>JU-LEVEL9=Basistekst cursief</a:t>
            </a:r>
          </a:p>
        </p:txBody>
      </p:sp>
      <p:sp>
        <p:nvSpPr>
          <p:cNvPr id="4" name="Tijdelijke aanduiding voor datum 3"/>
          <p:cNvSpPr>
            <a:spLocks noGrp="1" noSelect="1"/>
          </p:cNvSpPr>
          <p:nvPr>
            <p:ph type="dt" sz="half" idx="2"/>
          </p:nvPr>
        </p:nvSpPr>
        <p:spPr bwMode="gray">
          <a:xfrm>
            <a:off x="1080000" y="86390"/>
            <a:ext cx="2867209" cy="360000"/>
          </a:xfrm>
          <a:prstGeom prst="rect">
            <a:avLst/>
          </a:prstGeom>
        </p:spPr>
        <p:txBody>
          <a:bodyPr vert="horz" lIns="0" tIns="0" rIns="0" bIns="0" rtlCol="0" anchor="b">
            <a:noAutofit/>
          </a:bodyPr>
          <a:lstStyle>
            <a:lvl1pPr algn="l">
              <a:defRPr sz="1100">
                <a:solidFill>
                  <a:schemeClr val="tx1"/>
                </a:solidFill>
                <a:latin typeface="+mn-lt"/>
                <a:cs typeface="Arial" panose="020B0604020202020204" pitchFamily="34" charset="0"/>
              </a:defRPr>
            </a:lvl1pPr>
          </a:lstStyle>
          <a:p>
            <a:fld id="{B2199A0C-6E67-4506-84FA-63EFF30E4C8A}" type="datetime4">
              <a:rPr lang="nl-NL" noProof="1" smtClean="0"/>
              <a:t>22 september 2022</a:t>
            </a:fld>
            <a:endParaRPr lang="nl-NL" noProof="1"/>
          </a:p>
        </p:txBody>
      </p:sp>
      <p:sp>
        <p:nvSpPr>
          <p:cNvPr id="15" name="Rechthoek 14"/>
          <p:cNvSpPr>
            <a:spLocks noSelect="1"/>
          </p:cNvSpPr>
          <p:nvPr userDrawn="1"/>
        </p:nvSpPr>
        <p:spPr bwMode="gray">
          <a:xfrm>
            <a:off x="0" y="5955147"/>
            <a:ext cx="12189600" cy="450000"/>
          </a:xfrm>
          <a:prstGeom prst="rect">
            <a:avLst/>
          </a:prstGeom>
          <a:solidFill>
            <a:srgbClr val="001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6" name="Freeform 5"/>
          <p:cNvSpPr>
            <a:spLocks noSelect="1"/>
          </p:cNvSpPr>
          <p:nvPr userDrawn="1"/>
        </p:nvSpPr>
        <p:spPr bwMode="gray">
          <a:xfrm>
            <a:off x="1089025" y="6122997"/>
            <a:ext cx="2944813" cy="114300"/>
          </a:xfrm>
          <a:custGeom>
            <a:avLst/>
            <a:gdLst>
              <a:gd name="T0" fmla="*/ 6618 w 9279"/>
              <a:gd name="T1" fmla="*/ 356 h 356"/>
              <a:gd name="T2" fmla="*/ 6602 w 9279"/>
              <a:gd name="T3" fmla="*/ 290 h 356"/>
              <a:gd name="T4" fmla="*/ 6540 w 9279"/>
              <a:gd name="T5" fmla="*/ 124 h 356"/>
              <a:gd name="T6" fmla="*/ 6938 w 9279"/>
              <a:gd name="T7" fmla="*/ 78 h 356"/>
              <a:gd name="T8" fmla="*/ 6618 w 9279"/>
              <a:gd name="T9" fmla="*/ 64 h 356"/>
              <a:gd name="T10" fmla="*/ 8373 w 9279"/>
              <a:gd name="T11" fmla="*/ 222 h 356"/>
              <a:gd name="T12" fmla="*/ 8186 w 9279"/>
              <a:gd name="T13" fmla="*/ 222 h 356"/>
              <a:gd name="T14" fmla="*/ 8421 w 9279"/>
              <a:gd name="T15" fmla="*/ 0 h 356"/>
              <a:gd name="T16" fmla="*/ 8373 w 9279"/>
              <a:gd name="T17" fmla="*/ 222 h 356"/>
              <a:gd name="T18" fmla="*/ 8384 w 9279"/>
              <a:gd name="T19" fmla="*/ 61 h 356"/>
              <a:gd name="T20" fmla="*/ 2014 w 9279"/>
              <a:gd name="T21" fmla="*/ 237 h 356"/>
              <a:gd name="T22" fmla="*/ 1731 w 9279"/>
              <a:gd name="T23" fmla="*/ 356 h 356"/>
              <a:gd name="T24" fmla="*/ 2092 w 9279"/>
              <a:gd name="T25" fmla="*/ 0 h 356"/>
              <a:gd name="T26" fmla="*/ 2643 w 9279"/>
              <a:gd name="T27" fmla="*/ 286 h 356"/>
              <a:gd name="T28" fmla="*/ 2556 w 9279"/>
              <a:gd name="T29" fmla="*/ 0 h 356"/>
              <a:gd name="T30" fmla="*/ 2643 w 9279"/>
              <a:gd name="T31" fmla="*/ 241 h 356"/>
              <a:gd name="T32" fmla="*/ 2555 w 9279"/>
              <a:gd name="T33" fmla="*/ 83 h 356"/>
              <a:gd name="T34" fmla="*/ 2559 w 9279"/>
              <a:gd name="T35" fmla="*/ 233 h 356"/>
              <a:gd name="T36" fmla="*/ 2517 w 9279"/>
              <a:gd name="T37" fmla="*/ 292 h 356"/>
              <a:gd name="T38" fmla="*/ 8980 w 9279"/>
              <a:gd name="T39" fmla="*/ 202 h 356"/>
              <a:gd name="T40" fmla="*/ 8980 w 9279"/>
              <a:gd name="T41" fmla="*/ 63 h 356"/>
              <a:gd name="T42" fmla="*/ 8893 w 9279"/>
              <a:gd name="T43" fmla="*/ 356 h 356"/>
              <a:gd name="T44" fmla="*/ 1227 w 9279"/>
              <a:gd name="T45" fmla="*/ 202 h 356"/>
              <a:gd name="T46" fmla="*/ 1227 w 9279"/>
              <a:gd name="T47" fmla="*/ 63 h 356"/>
              <a:gd name="T48" fmla="*/ 1140 w 9279"/>
              <a:gd name="T49" fmla="*/ 356 h 356"/>
              <a:gd name="T50" fmla="*/ 1227 w 9279"/>
              <a:gd name="T51" fmla="*/ 202 h 356"/>
              <a:gd name="T52" fmla="*/ 93 w 9279"/>
              <a:gd name="T53" fmla="*/ 356 h 356"/>
              <a:gd name="T54" fmla="*/ 368 w 9279"/>
              <a:gd name="T55" fmla="*/ 0 h 356"/>
              <a:gd name="T56" fmla="*/ 87 w 9279"/>
              <a:gd name="T57" fmla="*/ 288 h 356"/>
              <a:gd name="T58" fmla="*/ 1015 w 9279"/>
              <a:gd name="T59" fmla="*/ 148 h 356"/>
              <a:gd name="T60" fmla="*/ 611 w 9279"/>
              <a:gd name="T61" fmla="*/ 356 h 356"/>
              <a:gd name="T62" fmla="*/ 934 w 9279"/>
              <a:gd name="T63" fmla="*/ 90 h 356"/>
              <a:gd name="T64" fmla="*/ 895 w 9279"/>
              <a:gd name="T65" fmla="*/ 156 h 356"/>
              <a:gd name="T66" fmla="*/ 8735 w 9279"/>
              <a:gd name="T67" fmla="*/ 356 h 356"/>
              <a:gd name="T68" fmla="*/ 6051 w 9279"/>
              <a:gd name="T69" fmla="*/ 237 h 356"/>
              <a:gd name="T70" fmla="*/ 5768 w 9279"/>
              <a:gd name="T71" fmla="*/ 356 h 356"/>
              <a:gd name="T72" fmla="*/ 6129 w 9279"/>
              <a:gd name="T73" fmla="*/ 0 h 356"/>
              <a:gd name="T74" fmla="*/ 5444 w 9279"/>
              <a:gd name="T75" fmla="*/ 178 h 356"/>
              <a:gd name="T76" fmla="*/ 5531 w 9279"/>
              <a:gd name="T77" fmla="*/ 178 h 356"/>
              <a:gd name="T78" fmla="*/ 6288 w 9279"/>
              <a:gd name="T79" fmla="*/ 356 h 356"/>
              <a:gd name="T80" fmla="*/ 6288 w 9279"/>
              <a:gd name="T81" fmla="*/ 356 h 356"/>
              <a:gd name="T82" fmla="*/ 4798 w 9279"/>
              <a:gd name="T83" fmla="*/ 356 h 356"/>
              <a:gd name="T84" fmla="*/ 5046 w 9279"/>
              <a:gd name="T85" fmla="*/ 313 h 356"/>
              <a:gd name="T86" fmla="*/ 5286 w 9279"/>
              <a:gd name="T87" fmla="*/ 0 h 356"/>
              <a:gd name="T88" fmla="*/ 3804 w 9279"/>
              <a:gd name="T89" fmla="*/ 356 h 356"/>
              <a:gd name="T90" fmla="*/ 3381 w 9279"/>
              <a:gd name="T91" fmla="*/ 356 h 356"/>
              <a:gd name="T92" fmla="*/ 3626 w 9279"/>
              <a:gd name="T93" fmla="*/ 213 h 356"/>
              <a:gd name="T94" fmla="*/ 7676 w 9279"/>
              <a:gd name="T95" fmla="*/ 202 h 356"/>
              <a:gd name="T96" fmla="*/ 7676 w 9279"/>
              <a:gd name="T97" fmla="*/ 63 h 356"/>
              <a:gd name="T98" fmla="*/ 7589 w 9279"/>
              <a:gd name="T99" fmla="*/ 356 h 356"/>
              <a:gd name="T100" fmla="*/ 7676 w 9279"/>
              <a:gd name="T101" fmla="*/ 202 h 356"/>
              <a:gd name="T102" fmla="*/ 4060 w 9279"/>
              <a:gd name="T103" fmla="*/ 221 h 356"/>
              <a:gd name="T104" fmla="*/ 3892 w 9279"/>
              <a:gd name="T105" fmla="*/ 0 h 356"/>
              <a:gd name="T106" fmla="*/ 4213 w 9279"/>
              <a:gd name="T107" fmla="*/ 221 h 356"/>
              <a:gd name="T108" fmla="*/ 4216 w 9279"/>
              <a:gd name="T109" fmla="*/ 90 h 356"/>
              <a:gd name="T110" fmla="*/ 4176 w 9279"/>
              <a:gd name="T111" fmla="*/ 160 h 356"/>
              <a:gd name="T112" fmla="*/ 3088 w 9279"/>
              <a:gd name="T113" fmla="*/ 278 h 356"/>
              <a:gd name="T114" fmla="*/ 2932 w 9279"/>
              <a:gd name="T115" fmla="*/ 0 h 356"/>
              <a:gd name="T116" fmla="*/ 2889 w 9279"/>
              <a:gd name="T117" fmla="*/ 213 h 356"/>
              <a:gd name="T118" fmla="*/ 7217 w 9279"/>
              <a:gd name="T119" fmla="*/ 356 h 356"/>
              <a:gd name="T120" fmla="*/ 7477 w 9279"/>
              <a:gd name="T121"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79" h="356">
                <a:moveTo>
                  <a:pt x="6942" y="223"/>
                </a:moveTo>
                <a:cubicBezTo>
                  <a:pt x="6942" y="272"/>
                  <a:pt x="6942" y="272"/>
                  <a:pt x="6942" y="272"/>
                </a:cubicBezTo>
                <a:cubicBezTo>
                  <a:pt x="6942" y="339"/>
                  <a:pt x="6920" y="356"/>
                  <a:pt x="6849" y="356"/>
                </a:cubicBezTo>
                <a:cubicBezTo>
                  <a:pt x="6618" y="356"/>
                  <a:pt x="6618" y="356"/>
                  <a:pt x="6618" y="356"/>
                </a:cubicBezTo>
                <a:cubicBezTo>
                  <a:pt x="6547" y="356"/>
                  <a:pt x="6524" y="339"/>
                  <a:pt x="6524" y="272"/>
                </a:cubicBezTo>
                <a:cubicBezTo>
                  <a:pt x="6524" y="262"/>
                  <a:pt x="6524" y="262"/>
                  <a:pt x="6524" y="262"/>
                </a:cubicBezTo>
                <a:cubicBezTo>
                  <a:pt x="6602" y="248"/>
                  <a:pt x="6602" y="248"/>
                  <a:pt x="6602" y="248"/>
                </a:cubicBezTo>
                <a:cubicBezTo>
                  <a:pt x="6602" y="290"/>
                  <a:pt x="6602" y="290"/>
                  <a:pt x="6602" y="290"/>
                </a:cubicBezTo>
                <a:cubicBezTo>
                  <a:pt x="6864" y="290"/>
                  <a:pt x="6864" y="290"/>
                  <a:pt x="6864" y="290"/>
                </a:cubicBezTo>
                <a:cubicBezTo>
                  <a:pt x="6864" y="208"/>
                  <a:pt x="6864" y="208"/>
                  <a:pt x="6864" y="208"/>
                </a:cubicBezTo>
                <a:cubicBezTo>
                  <a:pt x="6633" y="208"/>
                  <a:pt x="6633" y="208"/>
                  <a:pt x="6633" y="208"/>
                </a:cubicBezTo>
                <a:cubicBezTo>
                  <a:pt x="6563" y="208"/>
                  <a:pt x="6540" y="191"/>
                  <a:pt x="6540" y="124"/>
                </a:cubicBezTo>
                <a:cubicBezTo>
                  <a:pt x="6540" y="84"/>
                  <a:pt x="6540" y="84"/>
                  <a:pt x="6540" y="84"/>
                </a:cubicBezTo>
                <a:cubicBezTo>
                  <a:pt x="6540" y="17"/>
                  <a:pt x="6563" y="0"/>
                  <a:pt x="6633" y="0"/>
                </a:cubicBezTo>
                <a:cubicBezTo>
                  <a:pt x="6844" y="0"/>
                  <a:pt x="6844" y="0"/>
                  <a:pt x="6844" y="0"/>
                </a:cubicBezTo>
                <a:cubicBezTo>
                  <a:pt x="6910" y="0"/>
                  <a:pt x="6938" y="15"/>
                  <a:pt x="6938" y="78"/>
                </a:cubicBezTo>
                <a:cubicBezTo>
                  <a:pt x="6938" y="86"/>
                  <a:pt x="6938" y="86"/>
                  <a:pt x="6938" y="86"/>
                </a:cubicBezTo>
                <a:cubicBezTo>
                  <a:pt x="6863" y="102"/>
                  <a:pt x="6863" y="102"/>
                  <a:pt x="6863" y="102"/>
                </a:cubicBezTo>
                <a:cubicBezTo>
                  <a:pt x="6863" y="64"/>
                  <a:pt x="6863" y="64"/>
                  <a:pt x="6863" y="64"/>
                </a:cubicBezTo>
                <a:cubicBezTo>
                  <a:pt x="6618" y="64"/>
                  <a:pt x="6618" y="64"/>
                  <a:pt x="6618" y="64"/>
                </a:cubicBezTo>
                <a:cubicBezTo>
                  <a:pt x="6618" y="139"/>
                  <a:pt x="6618" y="139"/>
                  <a:pt x="6618" y="139"/>
                </a:cubicBezTo>
                <a:cubicBezTo>
                  <a:pt x="6849" y="139"/>
                  <a:pt x="6849" y="139"/>
                  <a:pt x="6849" y="139"/>
                </a:cubicBezTo>
                <a:cubicBezTo>
                  <a:pt x="6920" y="139"/>
                  <a:pt x="6942" y="156"/>
                  <a:pt x="6942" y="223"/>
                </a:cubicBezTo>
                <a:close/>
                <a:moveTo>
                  <a:pt x="8373" y="222"/>
                </a:moveTo>
                <a:cubicBezTo>
                  <a:pt x="8542" y="356"/>
                  <a:pt x="8542" y="356"/>
                  <a:pt x="8542" y="356"/>
                </a:cubicBezTo>
                <a:cubicBezTo>
                  <a:pt x="8417" y="356"/>
                  <a:pt x="8417" y="356"/>
                  <a:pt x="8417" y="356"/>
                </a:cubicBezTo>
                <a:cubicBezTo>
                  <a:pt x="8268" y="222"/>
                  <a:pt x="8268" y="222"/>
                  <a:pt x="8268" y="222"/>
                </a:cubicBezTo>
                <a:cubicBezTo>
                  <a:pt x="8186" y="222"/>
                  <a:pt x="8186" y="222"/>
                  <a:pt x="8186" y="222"/>
                </a:cubicBezTo>
                <a:cubicBezTo>
                  <a:pt x="8186" y="356"/>
                  <a:pt x="8186" y="356"/>
                  <a:pt x="8186" y="356"/>
                </a:cubicBezTo>
                <a:cubicBezTo>
                  <a:pt x="8101" y="356"/>
                  <a:pt x="8101" y="356"/>
                  <a:pt x="8101" y="356"/>
                </a:cubicBezTo>
                <a:cubicBezTo>
                  <a:pt x="8101" y="0"/>
                  <a:pt x="8101" y="0"/>
                  <a:pt x="8101" y="0"/>
                </a:cubicBezTo>
                <a:cubicBezTo>
                  <a:pt x="8421" y="0"/>
                  <a:pt x="8421" y="0"/>
                  <a:pt x="8421" y="0"/>
                </a:cubicBezTo>
                <a:cubicBezTo>
                  <a:pt x="8479" y="0"/>
                  <a:pt x="8505" y="19"/>
                  <a:pt x="8505" y="69"/>
                </a:cubicBezTo>
                <a:cubicBezTo>
                  <a:pt x="8505" y="153"/>
                  <a:pt x="8505" y="153"/>
                  <a:pt x="8505" y="153"/>
                </a:cubicBezTo>
                <a:cubicBezTo>
                  <a:pt x="8505" y="202"/>
                  <a:pt x="8479" y="222"/>
                  <a:pt x="8421" y="222"/>
                </a:cubicBezTo>
                <a:lnTo>
                  <a:pt x="8373" y="222"/>
                </a:lnTo>
                <a:close/>
                <a:moveTo>
                  <a:pt x="8384" y="160"/>
                </a:moveTo>
                <a:cubicBezTo>
                  <a:pt x="8410" y="160"/>
                  <a:pt x="8424" y="155"/>
                  <a:pt x="8424" y="131"/>
                </a:cubicBezTo>
                <a:cubicBezTo>
                  <a:pt x="8424" y="90"/>
                  <a:pt x="8424" y="90"/>
                  <a:pt x="8424" y="90"/>
                </a:cubicBezTo>
                <a:cubicBezTo>
                  <a:pt x="8424" y="67"/>
                  <a:pt x="8410" y="61"/>
                  <a:pt x="8384" y="61"/>
                </a:cubicBezTo>
                <a:cubicBezTo>
                  <a:pt x="8186" y="61"/>
                  <a:pt x="8186" y="61"/>
                  <a:pt x="8186" y="61"/>
                </a:cubicBezTo>
                <a:cubicBezTo>
                  <a:pt x="8186" y="160"/>
                  <a:pt x="8186" y="160"/>
                  <a:pt x="8186" y="160"/>
                </a:cubicBezTo>
                <a:lnTo>
                  <a:pt x="8384" y="160"/>
                </a:lnTo>
                <a:close/>
                <a:moveTo>
                  <a:pt x="2014" y="237"/>
                </a:moveTo>
                <a:cubicBezTo>
                  <a:pt x="1711" y="0"/>
                  <a:pt x="1711" y="0"/>
                  <a:pt x="1711" y="0"/>
                </a:cubicBezTo>
                <a:cubicBezTo>
                  <a:pt x="1652" y="0"/>
                  <a:pt x="1652" y="0"/>
                  <a:pt x="1652" y="0"/>
                </a:cubicBezTo>
                <a:cubicBezTo>
                  <a:pt x="1652" y="356"/>
                  <a:pt x="1652" y="356"/>
                  <a:pt x="1652" y="356"/>
                </a:cubicBezTo>
                <a:cubicBezTo>
                  <a:pt x="1731" y="356"/>
                  <a:pt x="1731" y="356"/>
                  <a:pt x="1731" y="356"/>
                </a:cubicBezTo>
                <a:cubicBezTo>
                  <a:pt x="1731" y="116"/>
                  <a:pt x="1731" y="116"/>
                  <a:pt x="1731" y="116"/>
                </a:cubicBezTo>
                <a:cubicBezTo>
                  <a:pt x="2032" y="356"/>
                  <a:pt x="2032" y="356"/>
                  <a:pt x="2032" y="356"/>
                </a:cubicBezTo>
                <a:cubicBezTo>
                  <a:pt x="2092" y="356"/>
                  <a:pt x="2092" y="356"/>
                  <a:pt x="2092" y="356"/>
                </a:cubicBezTo>
                <a:cubicBezTo>
                  <a:pt x="2092" y="0"/>
                  <a:pt x="2092" y="0"/>
                  <a:pt x="2092" y="0"/>
                </a:cubicBezTo>
                <a:cubicBezTo>
                  <a:pt x="2014" y="0"/>
                  <a:pt x="2014" y="0"/>
                  <a:pt x="2014" y="0"/>
                </a:cubicBezTo>
                <a:lnTo>
                  <a:pt x="2014" y="237"/>
                </a:lnTo>
                <a:close/>
                <a:moveTo>
                  <a:pt x="2643" y="241"/>
                </a:moveTo>
                <a:cubicBezTo>
                  <a:pt x="2643" y="286"/>
                  <a:pt x="2643" y="286"/>
                  <a:pt x="2643" y="286"/>
                </a:cubicBezTo>
                <a:cubicBezTo>
                  <a:pt x="2643" y="334"/>
                  <a:pt x="2606" y="356"/>
                  <a:pt x="2533" y="356"/>
                </a:cubicBezTo>
                <a:cubicBezTo>
                  <a:pt x="2236" y="356"/>
                  <a:pt x="2236" y="356"/>
                  <a:pt x="2236" y="356"/>
                </a:cubicBezTo>
                <a:cubicBezTo>
                  <a:pt x="2236" y="0"/>
                  <a:pt x="2236" y="0"/>
                  <a:pt x="2236" y="0"/>
                </a:cubicBezTo>
                <a:cubicBezTo>
                  <a:pt x="2556" y="0"/>
                  <a:pt x="2556" y="0"/>
                  <a:pt x="2556" y="0"/>
                </a:cubicBezTo>
                <a:cubicBezTo>
                  <a:pt x="2613" y="0"/>
                  <a:pt x="2640" y="19"/>
                  <a:pt x="2640" y="69"/>
                </a:cubicBezTo>
                <a:cubicBezTo>
                  <a:pt x="2640" y="112"/>
                  <a:pt x="2640" y="112"/>
                  <a:pt x="2640" y="112"/>
                </a:cubicBezTo>
                <a:cubicBezTo>
                  <a:pt x="2640" y="145"/>
                  <a:pt x="2619" y="166"/>
                  <a:pt x="2580" y="173"/>
                </a:cubicBezTo>
                <a:cubicBezTo>
                  <a:pt x="2620" y="179"/>
                  <a:pt x="2643" y="205"/>
                  <a:pt x="2643" y="241"/>
                </a:cubicBezTo>
                <a:close/>
                <a:moveTo>
                  <a:pt x="2322" y="142"/>
                </a:moveTo>
                <a:cubicBezTo>
                  <a:pt x="2517" y="142"/>
                  <a:pt x="2517" y="142"/>
                  <a:pt x="2517" y="142"/>
                </a:cubicBezTo>
                <a:cubicBezTo>
                  <a:pt x="2543" y="142"/>
                  <a:pt x="2555" y="138"/>
                  <a:pt x="2555" y="117"/>
                </a:cubicBezTo>
                <a:cubicBezTo>
                  <a:pt x="2555" y="83"/>
                  <a:pt x="2555" y="83"/>
                  <a:pt x="2555" y="83"/>
                </a:cubicBezTo>
                <a:cubicBezTo>
                  <a:pt x="2555" y="62"/>
                  <a:pt x="2544" y="58"/>
                  <a:pt x="2517" y="58"/>
                </a:cubicBezTo>
                <a:cubicBezTo>
                  <a:pt x="2322" y="58"/>
                  <a:pt x="2322" y="58"/>
                  <a:pt x="2322" y="58"/>
                </a:cubicBezTo>
                <a:lnTo>
                  <a:pt x="2322" y="142"/>
                </a:lnTo>
                <a:close/>
                <a:moveTo>
                  <a:pt x="2559" y="233"/>
                </a:moveTo>
                <a:cubicBezTo>
                  <a:pt x="2559" y="207"/>
                  <a:pt x="2546" y="201"/>
                  <a:pt x="2517" y="201"/>
                </a:cubicBezTo>
                <a:cubicBezTo>
                  <a:pt x="2322" y="201"/>
                  <a:pt x="2322" y="201"/>
                  <a:pt x="2322" y="201"/>
                </a:cubicBezTo>
                <a:cubicBezTo>
                  <a:pt x="2322" y="292"/>
                  <a:pt x="2322" y="292"/>
                  <a:pt x="2322" y="292"/>
                </a:cubicBezTo>
                <a:cubicBezTo>
                  <a:pt x="2517" y="292"/>
                  <a:pt x="2517" y="292"/>
                  <a:pt x="2517" y="292"/>
                </a:cubicBezTo>
                <a:cubicBezTo>
                  <a:pt x="2546" y="292"/>
                  <a:pt x="2559" y="286"/>
                  <a:pt x="2559" y="260"/>
                </a:cubicBezTo>
                <a:lnTo>
                  <a:pt x="2559" y="233"/>
                </a:lnTo>
                <a:close/>
                <a:moveTo>
                  <a:pt x="8980" y="290"/>
                </a:moveTo>
                <a:cubicBezTo>
                  <a:pt x="8980" y="202"/>
                  <a:pt x="8980" y="202"/>
                  <a:pt x="8980" y="202"/>
                </a:cubicBezTo>
                <a:cubicBezTo>
                  <a:pt x="9152" y="202"/>
                  <a:pt x="9152" y="202"/>
                  <a:pt x="9152" y="202"/>
                </a:cubicBezTo>
                <a:cubicBezTo>
                  <a:pt x="9152" y="141"/>
                  <a:pt x="9152" y="141"/>
                  <a:pt x="9152" y="141"/>
                </a:cubicBezTo>
                <a:cubicBezTo>
                  <a:pt x="8980" y="141"/>
                  <a:pt x="8980" y="141"/>
                  <a:pt x="8980" y="141"/>
                </a:cubicBezTo>
                <a:cubicBezTo>
                  <a:pt x="8980" y="63"/>
                  <a:pt x="8980" y="63"/>
                  <a:pt x="8980" y="63"/>
                </a:cubicBezTo>
                <a:cubicBezTo>
                  <a:pt x="9275" y="63"/>
                  <a:pt x="9275" y="63"/>
                  <a:pt x="9275" y="63"/>
                </a:cubicBezTo>
                <a:cubicBezTo>
                  <a:pt x="9275" y="0"/>
                  <a:pt x="9275" y="0"/>
                  <a:pt x="9275" y="0"/>
                </a:cubicBezTo>
                <a:cubicBezTo>
                  <a:pt x="8893" y="0"/>
                  <a:pt x="8893" y="0"/>
                  <a:pt x="8893" y="0"/>
                </a:cubicBezTo>
                <a:cubicBezTo>
                  <a:pt x="8893" y="356"/>
                  <a:pt x="8893" y="356"/>
                  <a:pt x="8893" y="356"/>
                </a:cubicBezTo>
                <a:cubicBezTo>
                  <a:pt x="9279" y="356"/>
                  <a:pt x="9279" y="356"/>
                  <a:pt x="9279" y="356"/>
                </a:cubicBezTo>
                <a:cubicBezTo>
                  <a:pt x="9279" y="290"/>
                  <a:pt x="9279" y="290"/>
                  <a:pt x="9279" y="290"/>
                </a:cubicBezTo>
                <a:lnTo>
                  <a:pt x="8980" y="290"/>
                </a:lnTo>
                <a:close/>
                <a:moveTo>
                  <a:pt x="1227" y="202"/>
                </a:moveTo>
                <a:cubicBezTo>
                  <a:pt x="1399" y="202"/>
                  <a:pt x="1399" y="202"/>
                  <a:pt x="1399" y="202"/>
                </a:cubicBezTo>
                <a:cubicBezTo>
                  <a:pt x="1399" y="141"/>
                  <a:pt x="1399" y="141"/>
                  <a:pt x="1399" y="141"/>
                </a:cubicBezTo>
                <a:cubicBezTo>
                  <a:pt x="1227" y="141"/>
                  <a:pt x="1227" y="141"/>
                  <a:pt x="1227" y="141"/>
                </a:cubicBezTo>
                <a:cubicBezTo>
                  <a:pt x="1227" y="63"/>
                  <a:pt x="1227" y="63"/>
                  <a:pt x="1227" y="63"/>
                </a:cubicBezTo>
                <a:cubicBezTo>
                  <a:pt x="1522" y="63"/>
                  <a:pt x="1522" y="63"/>
                  <a:pt x="1522" y="63"/>
                </a:cubicBezTo>
                <a:cubicBezTo>
                  <a:pt x="1522" y="0"/>
                  <a:pt x="1522" y="0"/>
                  <a:pt x="1522" y="0"/>
                </a:cubicBezTo>
                <a:cubicBezTo>
                  <a:pt x="1140" y="0"/>
                  <a:pt x="1140" y="0"/>
                  <a:pt x="1140" y="0"/>
                </a:cubicBezTo>
                <a:cubicBezTo>
                  <a:pt x="1140" y="356"/>
                  <a:pt x="1140" y="356"/>
                  <a:pt x="1140" y="356"/>
                </a:cubicBezTo>
                <a:cubicBezTo>
                  <a:pt x="1526" y="356"/>
                  <a:pt x="1526" y="356"/>
                  <a:pt x="1526" y="356"/>
                </a:cubicBezTo>
                <a:cubicBezTo>
                  <a:pt x="1526" y="290"/>
                  <a:pt x="1526" y="290"/>
                  <a:pt x="1526" y="290"/>
                </a:cubicBezTo>
                <a:cubicBezTo>
                  <a:pt x="1227" y="290"/>
                  <a:pt x="1227" y="290"/>
                  <a:pt x="1227" y="290"/>
                </a:cubicBezTo>
                <a:lnTo>
                  <a:pt x="1227" y="202"/>
                </a:lnTo>
                <a:close/>
                <a:moveTo>
                  <a:pt x="461" y="84"/>
                </a:moveTo>
                <a:cubicBezTo>
                  <a:pt x="461" y="272"/>
                  <a:pt x="461" y="272"/>
                  <a:pt x="461" y="272"/>
                </a:cubicBezTo>
                <a:cubicBezTo>
                  <a:pt x="461" y="339"/>
                  <a:pt x="438" y="356"/>
                  <a:pt x="368" y="356"/>
                </a:cubicBezTo>
                <a:cubicBezTo>
                  <a:pt x="93" y="356"/>
                  <a:pt x="93" y="356"/>
                  <a:pt x="93" y="356"/>
                </a:cubicBezTo>
                <a:cubicBezTo>
                  <a:pt x="22" y="356"/>
                  <a:pt x="0" y="339"/>
                  <a:pt x="0" y="272"/>
                </a:cubicBezTo>
                <a:cubicBezTo>
                  <a:pt x="0" y="84"/>
                  <a:pt x="0" y="84"/>
                  <a:pt x="0" y="84"/>
                </a:cubicBezTo>
                <a:cubicBezTo>
                  <a:pt x="0" y="16"/>
                  <a:pt x="23" y="0"/>
                  <a:pt x="93" y="0"/>
                </a:cubicBezTo>
                <a:cubicBezTo>
                  <a:pt x="368" y="0"/>
                  <a:pt x="368" y="0"/>
                  <a:pt x="368" y="0"/>
                </a:cubicBezTo>
                <a:cubicBezTo>
                  <a:pt x="438" y="0"/>
                  <a:pt x="461" y="16"/>
                  <a:pt x="461" y="84"/>
                </a:cubicBezTo>
                <a:close/>
                <a:moveTo>
                  <a:pt x="374" y="66"/>
                </a:moveTo>
                <a:cubicBezTo>
                  <a:pt x="87" y="66"/>
                  <a:pt x="87" y="66"/>
                  <a:pt x="87" y="66"/>
                </a:cubicBezTo>
                <a:cubicBezTo>
                  <a:pt x="87" y="288"/>
                  <a:pt x="87" y="288"/>
                  <a:pt x="87" y="288"/>
                </a:cubicBezTo>
                <a:cubicBezTo>
                  <a:pt x="374" y="288"/>
                  <a:pt x="374" y="288"/>
                  <a:pt x="374" y="288"/>
                </a:cubicBezTo>
                <a:lnTo>
                  <a:pt x="374" y="66"/>
                </a:lnTo>
                <a:close/>
                <a:moveTo>
                  <a:pt x="1015" y="69"/>
                </a:moveTo>
                <a:cubicBezTo>
                  <a:pt x="1015" y="148"/>
                  <a:pt x="1015" y="148"/>
                  <a:pt x="1015" y="148"/>
                </a:cubicBezTo>
                <a:cubicBezTo>
                  <a:pt x="1015" y="198"/>
                  <a:pt x="989" y="217"/>
                  <a:pt x="932" y="217"/>
                </a:cubicBezTo>
                <a:cubicBezTo>
                  <a:pt x="697" y="217"/>
                  <a:pt x="697" y="217"/>
                  <a:pt x="697" y="217"/>
                </a:cubicBezTo>
                <a:cubicBezTo>
                  <a:pt x="697" y="356"/>
                  <a:pt x="697" y="356"/>
                  <a:pt x="697" y="356"/>
                </a:cubicBezTo>
                <a:cubicBezTo>
                  <a:pt x="611" y="356"/>
                  <a:pt x="611" y="356"/>
                  <a:pt x="611" y="356"/>
                </a:cubicBezTo>
                <a:cubicBezTo>
                  <a:pt x="611" y="0"/>
                  <a:pt x="611" y="0"/>
                  <a:pt x="611" y="0"/>
                </a:cubicBezTo>
                <a:cubicBezTo>
                  <a:pt x="932" y="0"/>
                  <a:pt x="932" y="0"/>
                  <a:pt x="932" y="0"/>
                </a:cubicBezTo>
                <a:cubicBezTo>
                  <a:pt x="989" y="0"/>
                  <a:pt x="1015" y="19"/>
                  <a:pt x="1015" y="69"/>
                </a:cubicBezTo>
                <a:close/>
                <a:moveTo>
                  <a:pt x="934" y="90"/>
                </a:moveTo>
                <a:cubicBezTo>
                  <a:pt x="934" y="67"/>
                  <a:pt x="921" y="61"/>
                  <a:pt x="895" y="61"/>
                </a:cubicBezTo>
                <a:cubicBezTo>
                  <a:pt x="697" y="61"/>
                  <a:pt x="697" y="61"/>
                  <a:pt x="697" y="61"/>
                </a:cubicBezTo>
                <a:cubicBezTo>
                  <a:pt x="697" y="156"/>
                  <a:pt x="697" y="156"/>
                  <a:pt x="697" y="156"/>
                </a:cubicBezTo>
                <a:cubicBezTo>
                  <a:pt x="895" y="156"/>
                  <a:pt x="895" y="156"/>
                  <a:pt x="895" y="156"/>
                </a:cubicBezTo>
                <a:cubicBezTo>
                  <a:pt x="921" y="156"/>
                  <a:pt x="934" y="151"/>
                  <a:pt x="934" y="127"/>
                </a:cubicBezTo>
                <a:lnTo>
                  <a:pt x="934" y="90"/>
                </a:lnTo>
                <a:close/>
                <a:moveTo>
                  <a:pt x="8648" y="356"/>
                </a:moveTo>
                <a:cubicBezTo>
                  <a:pt x="8735" y="356"/>
                  <a:pt x="8735" y="356"/>
                  <a:pt x="8735" y="356"/>
                </a:cubicBezTo>
                <a:cubicBezTo>
                  <a:pt x="8735" y="0"/>
                  <a:pt x="8735" y="0"/>
                  <a:pt x="8735" y="0"/>
                </a:cubicBezTo>
                <a:cubicBezTo>
                  <a:pt x="8648" y="0"/>
                  <a:pt x="8648" y="0"/>
                  <a:pt x="8648" y="0"/>
                </a:cubicBezTo>
                <a:lnTo>
                  <a:pt x="8648" y="356"/>
                </a:lnTo>
                <a:close/>
                <a:moveTo>
                  <a:pt x="6051" y="237"/>
                </a:moveTo>
                <a:cubicBezTo>
                  <a:pt x="5749" y="0"/>
                  <a:pt x="5749" y="0"/>
                  <a:pt x="5749" y="0"/>
                </a:cubicBezTo>
                <a:cubicBezTo>
                  <a:pt x="5689" y="0"/>
                  <a:pt x="5689" y="0"/>
                  <a:pt x="5689" y="0"/>
                </a:cubicBezTo>
                <a:cubicBezTo>
                  <a:pt x="5689" y="356"/>
                  <a:pt x="5689" y="356"/>
                  <a:pt x="5689" y="356"/>
                </a:cubicBezTo>
                <a:cubicBezTo>
                  <a:pt x="5768" y="356"/>
                  <a:pt x="5768" y="356"/>
                  <a:pt x="5768" y="356"/>
                </a:cubicBezTo>
                <a:cubicBezTo>
                  <a:pt x="5768" y="116"/>
                  <a:pt x="5768" y="116"/>
                  <a:pt x="5768" y="116"/>
                </a:cubicBezTo>
                <a:cubicBezTo>
                  <a:pt x="6070" y="356"/>
                  <a:pt x="6070" y="356"/>
                  <a:pt x="6070" y="356"/>
                </a:cubicBezTo>
                <a:cubicBezTo>
                  <a:pt x="6129" y="356"/>
                  <a:pt x="6129" y="356"/>
                  <a:pt x="6129" y="356"/>
                </a:cubicBezTo>
                <a:cubicBezTo>
                  <a:pt x="6129" y="0"/>
                  <a:pt x="6129" y="0"/>
                  <a:pt x="6129" y="0"/>
                </a:cubicBezTo>
                <a:cubicBezTo>
                  <a:pt x="6051" y="0"/>
                  <a:pt x="6051" y="0"/>
                  <a:pt x="6051" y="0"/>
                </a:cubicBezTo>
                <a:lnTo>
                  <a:pt x="6051" y="237"/>
                </a:lnTo>
                <a:close/>
                <a:moveTo>
                  <a:pt x="5444" y="0"/>
                </a:moveTo>
                <a:cubicBezTo>
                  <a:pt x="5444" y="178"/>
                  <a:pt x="5444" y="178"/>
                  <a:pt x="5444" y="178"/>
                </a:cubicBezTo>
                <a:cubicBezTo>
                  <a:pt x="5444" y="356"/>
                  <a:pt x="5444" y="356"/>
                  <a:pt x="5444" y="356"/>
                </a:cubicBezTo>
                <a:cubicBezTo>
                  <a:pt x="5487" y="356"/>
                  <a:pt x="5487" y="356"/>
                  <a:pt x="5487" y="356"/>
                </a:cubicBezTo>
                <a:cubicBezTo>
                  <a:pt x="5531" y="356"/>
                  <a:pt x="5531" y="356"/>
                  <a:pt x="5531" y="356"/>
                </a:cubicBezTo>
                <a:cubicBezTo>
                  <a:pt x="5531" y="178"/>
                  <a:pt x="5531" y="178"/>
                  <a:pt x="5531" y="178"/>
                </a:cubicBezTo>
                <a:cubicBezTo>
                  <a:pt x="5531" y="0"/>
                  <a:pt x="5531" y="0"/>
                  <a:pt x="5531" y="0"/>
                </a:cubicBezTo>
                <a:cubicBezTo>
                  <a:pt x="5531" y="0"/>
                  <a:pt x="5531" y="0"/>
                  <a:pt x="5531" y="0"/>
                </a:cubicBezTo>
                <a:cubicBezTo>
                  <a:pt x="5444" y="0"/>
                  <a:pt x="5444" y="0"/>
                  <a:pt x="5444" y="0"/>
                </a:cubicBezTo>
                <a:close/>
                <a:moveTo>
                  <a:pt x="6288" y="356"/>
                </a:moveTo>
                <a:cubicBezTo>
                  <a:pt x="6375" y="356"/>
                  <a:pt x="6375" y="356"/>
                  <a:pt x="6375" y="356"/>
                </a:cubicBezTo>
                <a:cubicBezTo>
                  <a:pt x="6375" y="0"/>
                  <a:pt x="6375" y="0"/>
                  <a:pt x="6375" y="0"/>
                </a:cubicBezTo>
                <a:cubicBezTo>
                  <a:pt x="6288" y="0"/>
                  <a:pt x="6288" y="0"/>
                  <a:pt x="6288" y="0"/>
                </a:cubicBezTo>
                <a:lnTo>
                  <a:pt x="6288" y="356"/>
                </a:lnTo>
                <a:close/>
                <a:moveTo>
                  <a:pt x="5042" y="211"/>
                </a:moveTo>
                <a:cubicBezTo>
                  <a:pt x="4868" y="0"/>
                  <a:pt x="4868" y="0"/>
                  <a:pt x="4868" y="0"/>
                </a:cubicBezTo>
                <a:cubicBezTo>
                  <a:pt x="4798" y="0"/>
                  <a:pt x="4798" y="0"/>
                  <a:pt x="4798" y="0"/>
                </a:cubicBezTo>
                <a:cubicBezTo>
                  <a:pt x="4798" y="356"/>
                  <a:pt x="4798" y="356"/>
                  <a:pt x="4798" y="356"/>
                </a:cubicBezTo>
                <a:cubicBezTo>
                  <a:pt x="4868" y="356"/>
                  <a:pt x="4868" y="356"/>
                  <a:pt x="4868" y="356"/>
                </a:cubicBezTo>
                <a:cubicBezTo>
                  <a:pt x="4868" y="117"/>
                  <a:pt x="4868" y="117"/>
                  <a:pt x="4868" y="117"/>
                </a:cubicBezTo>
                <a:cubicBezTo>
                  <a:pt x="5029" y="313"/>
                  <a:pt x="5029" y="313"/>
                  <a:pt x="5029" y="313"/>
                </a:cubicBezTo>
                <a:cubicBezTo>
                  <a:pt x="5046" y="313"/>
                  <a:pt x="5046" y="313"/>
                  <a:pt x="5046" y="313"/>
                </a:cubicBezTo>
                <a:cubicBezTo>
                  <a:pt x="5205" y="111"/>
                  <a:pt x="5205" y="111"/>
                  <a:pt x="5205" y="111"/>
                </a:cubicBezTo>
                <a:cubicBezTo>
                  <a:pt x="5205" y="356"/>
                  <a:pt x="5205" y="356"/>
                  <a:pt x="5205" y="356"/>
                </a:cubicBezTo>
                <a:cubicBezTo>
                  <a:pt x="5286" y="356"/>
                  <a:pt x="5286" y="356"/>
                  <a:pt x="5286" y="356"/>
                </a:cubicBezTo>
                <a:cubicBezTo>
                  <a:pt x="5286" y="0"/>
                  <a:pt x="5286" y="0"/>
                  <a:pt x="5286" y="0"/>
                </a:cubicBezTo>
                <a:cubicBezTo>
                  <a:pt x="5216" y="0"/>
                  <a:pt x="5216" y="0"/>
                  <a:pt x="5216" y="0"/>
                </a:cubicBezTo>
                <a:lnTo>
                  <a:pt x="5042" y="211"/>
                </a:lnTo>
                <a:close/>
                <a:moveTo>
                  <a:pt x="3589" y="0"/>
                </a:moveTo>
                <a:cubicBezTo>
                  <a:pt x="3804" y="356"/>
                  <a:pt x="3804" y="356"/>
                  <a:pt x="3804" y="356"/>
                </a:cubicBezTo>
                <a:cubicBezTo>
                  <a:pt x="3706" y="356"/>
                  <a:pt x="3706" y="356"/>
                  <a:pt x="3706" y="356"/>
                </a:cubicBezTo>
                <a:cubicBezTo>
                  <a:pt x="3662" y="278"/>
                  <a:pt x="3662" y="278"/>
                  <a:pt x="3662" y="278"/>
                </a:cubicBezTo>
                <a:cubicBezTo>
                  <a:pt x="3426" y="278"/>
                  <a:pt x="3426" y="278"/>
                  <a:pt x="3426" y="278"/>
                </a:cubicBezTo>
                <a:cubicBezTo>
                  <a:pt x="3381" y="356"/>
                  <a:pt x="3381" y="356"/>
                  <a:pt x="3381" y="356"/>
                </a:cubicBezTo>
                <a:cubicBezTo>
                  <a:pt x="3294" y="356"/>
                  <a:pt x="3294" y="356"/>
                  <a:pt x="3294" y="356"/>
                </a:cubicBezTo>
                <a:cubicBezTo>
                  <a:pt x="3506" y="0"/>
                  <a:pt x="3506" y="0"/>
                  <a:pt x="3506" y="0"/>
                </a:cubicBezTo>
                <a:lnTo>
                  <a:pt x="3589" y="0"/>
                </a:lnTo>
                <a:close/>
                <a:moveTo>
                  <a:pt x="3626" y="213"/>
                </a:moveTo>
                <a:cubicBezTo>
                  <a:pt x="3543" y="65"/>
                  <a:pt x="3543" y="65"/>
                  <a:pt x="3543" y="65"/>
                </a:cubicBezTo>
                <a:cubicBezTo>
                  <a:pt x="3463" y="213"/>
                  <a:pt x="3463" y="213"/>
                  <a:pt x="3463" y="213"/>
                </a:cubicBezTo>
                <a:lnTo>
                  <a:pt x="3626" y="213"/>
                </a:lnTo>
                <a:close/>
                <a:moveTo>
                  <a:pt x="7676" y="202"/>
                </a:moveTo>
                <a:cubicBezTo>
                  <a:pt x="7848" y="202"/>
                  <a:pt x="7848" y="202"/>
                  <a:pt x="7848" y="202"/>
                </a:cubicBezTo>
                <a:cubicBezTo>
                  <a:pt x="7848" y="141"/>
                  <a:pt x="7848" y="141"/>
                  <a:pt x="7848" y="141"/>
                </a:cubicBezTo>
                <a:cubicBezTo>
                  <a:pt x="7676" y="141"/>
                  <a:pt x="7676" y="141"/>
                  <a:pt x="7676" y="141"/>
                </a:cubicBezTo>
                <a:cubicBezTo>
                  <a:pt x="7676" y="63"/>
                  <a:pt x="7676" y="63"/>
                  <a:pt x="7676" y="63"/>
                </a:cubicBezTo>
                <a:cubicBezTo>
                  <a:pt x="7971" y="63"/>
                  <a:pt x="7971" y="63"/>
                  <a:pt x="7971" y="63"/>
                </a:cubicBezTo>
                <a:cubicBezTo>
                  <a:pt x="7971" y="0"/>
                  <a:pt x="7971" y="0"/>
                  <a:pt x="7971" y="0"/>
                </a:cubicBezTo>
                <a:cubicBezTo>
                  <a:pt x="7589" y="0"/>
                  <a:pt x="7589" y="0"/>
                  <a:pt x="7589" y="0"/>
                </a:cubicBezTo>
                <a:cubicBezTo>
                  <a:pt x="7589" y="356"/>
                  <a:pt x="7589" y="356"/>
                  <a:pt x="7589" y="356"/>
                </a:cubicBezTo>
                <a:cubicBezTo>
                  <a:pt x="7975" y="356"/>
                  <a:pt x="7975" y="356"/>
                  <a:pt x="7975" y="356"/>
                </a:cubicBezTo>
                <a:cubicBezTo>
                  <a:pt x="7975" y="290"/>
                  <a:pt x="7975" y="290"/>
                  <a:pt x="7975" y="290"/>
                </a:cubicBezTo>
                <a:cubicBezTo>
                  <a:pt x="7676" y="290"/>
                  <a:pt x="7676" y="290"/>
                  <a:pt x="7676" y="290"/>
                </a:cubicBezTo>
                <a:lnTo>
                  <a:pt x="7676" y="202"/>
                </a:lnTo>
                <a:close/>
                <a:moveTo>
                  <a:pt x="4164" y="221"/>
                </a:moveTo>
                <a:cubicBezTo>
                  <a:pt x="4334" y="356"/>
                  <a:pt x="4334" y="356"/>
                  <a:pt x="4334" y="356"/>
                </a:cubicBezTo>
                <a:cubicBezTo>
                  <a:pt x="4209" y="356"/>
                  <a:pt x="4209" y="356"/>
                  <a:pt x="4209" y="356"/>
                </a:cubicBezTo>
                <a:cubicBezTo>
                  <a:pt x="4060" y="221"/>
                  <a:pt x="4060" y="221"/>
                  <a:pt x="4060" y="221"/>
                </a:cubicBezTo>
                <a:cubicBezTo>
                  <a:pt x="3978" y="221"/>
                  <a:pt x="3978" y="221"/>
                  <a:pt x="3978" y="221"/>
                </a:cubicBezTo>
                <a:cubicBezTo>
                  <a:pt x="3978" y="356"/>
                  <a:pt x="3978" y="356"/>
                  <a:pt x="3978" y="356"/>
                </a:cubicBezTo>
                <a:cubicBezTo>
                  <a:pt x="3892" y="356"/>
                  <a:pt x="3892" y="356"/>
                  <a:pt x="3892" y="356"/>
                </a:cubicBezTo>
                <a:cubicBezTo>
                  <a:pt x="3892" y="0"/>
                  <a:pt x="3892" y="0"/>
                  <a:pt x="3892" y="0"/>
                </a:cubicBezTo>
                <a:cubicBezTo>
                  <a:pt x="4213" y="0"/>
                  <a:pt x="4213" y="0"/>
                  <a:pt x="4213" y="0"/>
                </a:cubicBezTo>
                <a:cubicBezTo>
                  <a:pt x="4270" y="0"/>
                  <a:pt x="4296" y="19"/>
                  <a:pt x="4296" y="69"/>
                </a:cubicBezTo>
                <a:cubicBezTo>
                  <a:pt x="4296" y="153"/>
                  <a:pt x="4296" y="153"/>
                  <a:pt x="4296" y="153"/>
                </a:cubicBezTo>
                <a:cubicBezTo>
                  <a:pt x="4296" y="202"/>
                  <a:pt x="4270" y="221"/>
                  <a:pt x="4213" y="221"/>
                </a:cubicBezTo>
                <a:lnTo>
                  <a:pt x="4164" y="221"/>
                </a:lnTo>
                <a:close/>
                <a:moveTo>
                  <a:pt x="4176" y="160"/>
                </a:moveTo>
                <a:cubicBezTo>
                  <a:pt x="4202" y="160"/>
                  <a:pt x="4216" y="155"/>
                  <a:pt x="4216" y="131"/>
                </a:cubicBezTo>
                <a:cubicBezTo>
                  <a:pt x="4216" y="90"/>
                  <a:pt x="4216" y="90"/>
                  <a:pt x="4216" y="90"/>
                </a:cubicBezTo>
                <a:cubicBezTo>
                  <a:pt x="4216" y="67"/>
                  <a:pt x="4202" y="61"/>
                  <a:pt x="4176" y="61"/>
                </a:cubicBezTo>
                <a:cubicBezTo>
                  <a:pt x="3978" y="61"/>
                  <a:pt x="3978" y="61"/>
                  <a:pt x="3978" y="61"/>
                </a:cubicBezTo>
                <a:cubicBezTo>
                  <a:pt x="3978" y="160"/>
                  <a:pt x="3978" y="160"/>
                  <a:pt x="3978" y="160"/>
                </a:cubicBezTo>
                <a:lnTo>
                  <a:pt x="4176" y="160"/>
                </a:lnTo>
                <a:close/>
                <a:moveTo>
                  <a:pt x="3015" y="0"/>
                </a:moveTo>
                <a:cubicBezTo>
                  <a:pt x="3230" y="356"/>
                  <a:pt x="3230" y="356"/>
                  <a:pt x="3230" y="356"/>
                </a:cubicBezTo>
                <a:cubicBezTo>
                  <a:pt x="3132" y="356"/>
                  <a:pt x="3132" y="356"/>
                  <a:pt x="3132" y="356"/>
                </a:cubicBezTo>
                <a:cubicBezTo>
                  <a:pt x="3088" y="278"/>
                  <a:pt x="3088" y="278"/>
                  <a:pt x="3088" y="278"/>
                </a:cubicBezTo>
                <a:cubicBezTo>
                  <a:pt x="2852" y="278"/>
                  <a:pt x="2852" y="278"/>
                  <a:pt x="2852" y="278"/>
                </a:cubicBezTo>
                <a:cubicBezTo>
                  <a:pt x="2807" y="356"/>
                  <a:pt x="2807" y="356"/>
                  <a:pt x="2807" y="356"/>
                </a:cubicBezTo>
                <a:cubicBezTo>
                  <a:pt x="2721" y="356"/>
                  <a:pt x="2721" y="356"/>
                  <a:pt x="2721" y="356"/>
                </a:cubicBezTo>
                <a:cubicBezTo>
                  <a:pt x="2932" y="0"/>
                  <a:pt x="2932" y="0"/>
                  <a:pt x="2932" y="0"/>
                </a:cubicBezTo>
                <a:lnTo>
                  <a:pt x="3015" y="0"/>
                </a:lnTo>
                <a:close/>
                <a:moveTo>
                  <a:pt x="3052" y="213"/>
                </a:moveTo>
                <a:cubicBezTo>
                  <a:pt x="2969" y="65"/>
                  <a:pt x="2969" y="65"/>
                  <a:pt x="2969" y="65"/>
                </a:cubicBezTo>
                <a:cubicBezTo>
                  <a:pt x="2889" y="213"/>
                  <a:pt x="2889" y="213"/>
                  <a:pt x="2889" y="213"/>
                </a:cubicBezTo>
                <a:lnTo>
                  <a:pt x="3052" y="213"/>
                </a:lnTo>
                <a:close/>
                <a:moveTo>
                  <a:pt x="7046" y="64"/>
                </a:moveTo>
                <a:cubicBezTo>
                  <a:pt x="7217" y="64"/>
                  <a:pt x="7217" y="64"/>
                  <a:pt x="7217" y="64"/>
                </a:cubicBezTo>
                <a:cubicBezTo>
                  <a:pt x="7217" y="356"/>
                  <a:pt x="7217" y="356"/>
                  <a:pt x="7217" y="356"/>
                </a:cubicBezTo>
                <a:cubicBezTo>
                  <a:pt x="7304" y="356"/>
                  <a:pt x="7304" y="356"/>
                  <a:pt x="7304" y="356"/>
                </a:cubicBezTo>
                <a:cubicBezTo>
                  <a:pt x="7304" y="64"/>
                  <a:pt x="7304" y="64"/>
                  <a:pt x="7304" y="64"/>
                </a:cubicBezTo>
                <a:cubicBezTo>
                  <a:pt x="7477" y="64"/>
                  <a:pt x="7477" y="64"/>
                  <a:pt x="7477" y="64"/>
                </a:cubicBezTo>
                <a:cubicBezTo>
                  <a:pt x="7477" y="0"/>
                  <a:pt x="7477" y="0"/>
                  <a:pt x="7477" y="0"/>
                </a:cubicBezTo>
                <a:cubicBezTo>
                  <a:pt x="7046" y="0"/>
                  <a:pt x="7046" y="0"/>
                  <a:pt x="7046" y="0"/>
                </a:cubicBezTo>
                <a:lnTo>
                  <a:pt x="704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7" name="Tijdelijke aanduiding voor voettekst 6"/>
          <p:cNvSpPr>
            <a:spLocks noGrp="1" noSelect="1"/>
          </p:cNvSpPr>
          <p:nvPr>
            <p:ph type="ftr" sz="quarter" idx="3"/>
          </p:nvPr>
        </p:nvSpPr>
        <p:spPr bwMode="gray">
          <a:xfrm>
            <a:off x="1080000" y="6487389"/>
            <a:ext cx="10116000" cy="307765"/>
          </a:xfrm>
          <a:prstGeom prst="rect">
            <a:avLst/>
          </a:prstGeom>
        </p:spPr>
        <p:txBody>
          <a:bodyPr vert="horz" lIns="0" tIns="0" rIns="0" bIns="0" rtlCol="0" anchor="ctr"/>
          <a:lstStyle>
            <a:lvl1pPr algn="l">
              <a:defRPr sz="1400">
                <a:solidFill>
                  <a:schemeClr val="tx1"/>
                </a:solidFill>
              </a:defRPr>
            </a:lvl1pPr>
          </a:lstStyle>
          <a:p>
            <a:r>
              <a:rPr lang="nl-NL" noProof="1"/>
              <a:t>[Plaats hier de aanduiding van het OM onderdeel]</a:t>
            </a:r>
          </a:p>
        </p:txBody>
      </p:sp>
      <p:sp>
        <p:nvSpPr>
          <p:cNvPr id="14" name="Tijdelijke aanduiding voor dianummer 5"/>
          <p:cNvSpPr>
            <a:spLocks noGrp="1" noSelect="1"/>
          </p:cNvSpPr>
          <p:nvPr>
            <p:ph type="sldNum" sz="quarter" idx="4"/>
          </p:nvPr>
        </p:nvSpPr>
        <p:spPr bwMode="gray">
          <a:xfrm>
            <a:off x="10578904" y="86390"/>
            <a:ext cx="871302" cy="360000"/>
          </a:xfrm>
          <a:prstGeom prst="rect">
            <a:avLst/>
          </a:prstGeom>
        </p:spPr>
        <p:txBody>
          <a:bodyPr vert="horz" lIns="0" tIns="0" rIns="0" bIns="0" rtlCol="0" anchor="b">
            <a:noAutofit/>
          </a:bodyPr>
          <a:lstStyle>
            <a:lvl1pPr algn="l">
              <a:defRPr sz="1100">
                <a:solidFill>
                  <a:srgbClr val="000000"/>
                </a:solidFill>
                <a:latin typeface="Arial" panose="020B0604020202020204" pitchFamily="34" charset="0"/>
                <a:cs typeface="Arial" panose="020B0604020202020204" pitchFamily="34" charset="0"/>
              </a:defRPr>
            </a:lvl1pPr>
          </a:lstStyle>
          <a:p>
            <a:r>
              <a:rPr lang="nl-NL" noProof="1"/>
              <a:t>pagina </a:t>
            </a:r>
            <a:fld id="{1336C48C-F87C-4E4B-81EF-5027B17D1F61}" type="slidenum">
              <a:rPr lang="nl-NL" noProof="1" smtClean="0"/>
              <a:pPr/>
              <a:t>‹nr.›</a:t>
            </a:fld>
            <a:endParaRPr lang="nl-NL" noProof="1"/>
          </a:p>
        </p:txBody>
      </p:sp>
    </p:spTree>
    <p:extLst>
      <p:ext uri="{BB962C8B-B14F-4D97-AF65-F5344CB8AC3E}">
        <p14:creationId xmlns:p14="http://schemas.microsoft.com/office/powerpoint/2010/main" val="2202248266"/>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sldNum="0" hdr="0" ftr="0" dt="0"/>
  <p:txStyles>
    <p:titleStyle>
      <a:lvl1pPr algn="l" defTabSz="1088502" rtl="0" eaLnBrk="1" latinLnBrk="0" hangingPunct="1">
        <a:spcBef>
          <a:spcPct val="0"/>
        </a:spcBef>
        <a:buNone/>
        <a:defRPr sz="2400" b="1" kern="1200">
          <a:solidFill>
            <a:schemeClr val="tx1"/>
          </a:solidFill>
          <a:latin typeface="+mj-lt"/>
          <a:ea typeface="+mj-ea"/>
          <a:cs typeface="+mj-cs"/>
        </a:defRPr>
      </a:lvl1pPr>
    </p:titleStyle>
    <p:bodyStyle>
      <a:lvl1pPr marL="270000" indent="-270000" algn="l" defTabSz="1088502" rtl="0" eaLnBrk="1" latinLnBrk="0" hangingPunct="1">
        <a:spcBef>
          <a:spcPts val="0"/>
        </a:spcBef>
        <a:buFont typeface="Arial" pitchFamily="34" charset="0"/>
        <a:buChar char="•"/>
        <a:defRPr sz="1800" b="0" kern="1200" baseline="0">
          <a:solidFill>
            <a:schemeClr val="tx1"/>
          </a:solidFill>
          <a:latin typeface="+mn-lt"/>
          <a:ea typeface="+mn-ea"/>
          <a:cs typeface="+mn-cs"/>
        </a:defRPr>
      </a:lvl1pPr>
      <a:lvl2pPr marL="540000" indent="-270000" algn="l" defTabSz="1088502" rtl="0" eaLnBrk="1" latinLnBrk="0" hangingPunct="1">
        <a:spcBef>
          <a:spcPts val="0"/>
        </a:spcBef>
        <a:buFont typeface="Arial" pitchFamily="34" charset="0"/>
        <a:buChar char="•"/>
        <a:defRPr sz="1800" kern="1200">
          <a:solidFill>
            <a:schemeClr val="tx1"/>
          </a:solidFill>
          <a:latin typeface="+mn-lt"/>
          <a:ea typeface="+mn-ea"/>
          <a:cs typeface="+mn-cs"/>
        </a:defRPr>
      </a:lvl2pPr>
      <a:lvl3pPr marL="810000" indent="-270000" algn="l" defTabSz="1088502" rtl="0" eaLnBrk="1" latinLnBrk="0" hangingPunct="1">
        <a:spcBef>
          <a:spcPts val="0"/>
        </a:spcBef>
        <a:buFont typeface="Arial" pitchFamily="34" charset="0"/>
        <a:buChar char="•"/>
        <a:defRPr sz="1800" b="0" kern="1200">
          <a:solidFill>
            <a:schemeClr val="tx1"/>
          </a:solidFill>
          <a:latin typeface="+mn-lt"/>
          <a:ea typeface="+mn-ea"/>
          <a:cs typeface="+mn-cs"/>
        </a:defRPr>
      </a:lvl3pPr>
      <a:lvl4pPr marL="0" indent="0" algn="l" defTabSz="1088502" rtl="0" eaLnBrk="1" latinLnBrk="0" hangingPunct="1">
        <a:spcBef>
          <a:spcPts val="1800"/>
        </a:spcBef>
        <a:spcAft>
          <a:spcPts val="800"/>
        </a:spcAft>
        <a:buFont typeface="Arial" pitchFamily="34" charset="0"/>
        <a:buNone/>
        <a:defRPr sz="1800" b="1" kern="1200">
          <a:solidFill>
            <a:schemeClr val="tx1"/>
          </a:solidFill>
          <a:latin typeface="+mn-lt"/>
          <a:ea typeface="+mn-ea"/>
          <a:cs typeface="+mn-cs"/>
        </a:defRPr>
      </a:lvl4pPr>
      <a:lvl5pPr marL="0" indent="0" algn="l" defTabSz="1088502" rtl="0" eaLnBrk="1" latinLnBrk="0" hangingPunct="1">
        <a:spcBef>
          <a:spcPts val="0"/>
        </a:spcBef>
        <a:buFont typeface="Arial" pitchFamily="34" charset="0"/>
        <a:buNone/>
        <a:defRPr sz="1800" kern="1200">
          <a:solidFill>
            <a:schemeClr val="tx1"/>
          </a:solidFill>
          <a:latin typeface="+mn-lt"/>
          <a:ea typeface="+mn-ea"/>
          <a:cs typeface="+mn-cs"/>
        </a:defRPr>
      </a:lvl5pPr>
      <a:lvl6pPr marL="270000" indent="0" algn="l" defTabSz="1088502" rtl="0" eaLnBrk="1" latinLnBrk="0" hangingPunct="1">
        <a:spcBef>
          <a:spcPts val="0"/>
        </a:spcBef>
        <a:buFont typeface="Arial" pitchFamily="34" charset="0"/>
        <a:buNone/>
        <a:defRPr sz="1800" kern="1200">
          <a:solidFill>
            <a:schemeClr val="tx1"/>
          </a:solidFill>
          <a:latin typeface="+mn-lt"/>
          <a:ea typeface="+mn-ea"/>
          <a:cs typeface="+mn-cs"/>
        </a:defRPr>
      </a:lvl6pPr>
      <a:lvl7pPr marL="540000" indent="0" algn="l" defTabSz="1088502" rtl="0" eaLnBrk="1" latinLnBrk="0" hangingPunct="1">
        <a:spcBef>
          <a:spcPts val="0"/>
        </a:spcBef>
        <a:buFont typeface="Arial" pitchFamily="34" charset="0"/>
        <a:buNone/>
        <a:defRPr sz="1800" kern="1200">
          <a:solidFill>
            <a:schemeClr val="tx1"/>
          </a:solidFill>
          <a:latin typeface="+mn-lt"/>
          <a:ea typeface="+mn-ea"/>
          <a:cs typeface="+mn-cs"/>
        </a:defRPr>
      </a:lvl7pPr>
      <a:lvl8pPr marL="810000" indent="0" algn="l" defTabSz="1088502" rtl="0" eaLnBrk="1" latinLnBrk="0" hangingPunct="1">
        <a:spcBef>
          <a:spcPts val="0"/>
        </a:spcBef>
        <a:buFont typeface="Arial" pitchFamily="34" charset="0"/>
        <a:buNone/>
        <a:defRPr sz="1800" kern="1200">
          <a:solidFill>
            <a:schemeClr val="tx1"/>
          </a:solidFill>
          <a:latin typeface="+mn-lt"/>
          <a:ea typeface="+mn-ea"/>
          <a:cs typeface="+mn-cs"/>
        </a:defRPr>
      </a:lvl8pPr>
      <a:lvl9pPr marL="0" indent="0" algn="l" defTabSz="1088502" rtl="0" eaLnBrk="1" latinLnBrk="0" hangingPunct="1">
        <a:spcBef>
          <a:spcPts val="0"/>
        </a:spcBef>
        <a:buFont typeface="Arial" pitchFamily="34" charset="0"/>
        <a:buNone/>
        <a:defRPr sz="1800" i="1" kern="1200" baseline="0">
          <a:solidFill>
            <a:schemeClr val="tx1"/>
          </a:solidFill>
          <a:latin typeface="+mn-lt"/>
          <a:ea typeface="+mn-ea"/>
          <a:cs typeface="+mn-cs"/>
        </a:defRPr>
      </a:lvl9pPr>
    </p:bodyStyle>
    <p:otherStyle>
      <a:defPPr>
        <a:defRPr lang="nl-NL"/>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890738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think-cell Slide" r:id="rId6" imgW="592" imgH="595" progId="TCLayout.ActiveDocument.1">
                  <p:embed/>
                </p:oleObj>
              </mc:Choice>
              <mc:Fallback>
                <p:oleObj name="think-cell Slide" r:id="rId6" imgW="592" imgH="595"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nl-NL" sz="3600" b="1" dirty="0">
              <a:latin typeface="Verdana" panose="020B0604030504040204" pitchFamily="34" charset="0"/>
              <a:ea typeface="+mj-ea"/>
              <a:cs typeface="+mj-cs"/>
              <a:sym typeface="Verdana" panose="020B0604030504040204" pitchFamily="34" charset="0"/>
            </a:endParaRPr>
          </a:p>
        </p:txBody>
      </p:sp>
      <p:sp>
        <p:nvSpPr>
          <p:cNvPr id="2" name="Titel 1"/>
          <p:cNvSpPr>
            <a:spLocks noGrp="1"/>
          </p:cNvSpPr>
          <p:nvPr>
            <p:ph type="ctrTitle"/>
          </p:nvPr>
        </p:nvSpPr>
        <p:spPr/>
        <p:txBody>
          <a:bodyPr vert="horz"/>
          <a:lstStyle/>
          <a:p>
            <a:r>
              <a:rPr lang="nl-NL" dirty="0"/>
              <a:t>Inlichtingenbijeenkomst </a:t>
            </a:r>
            <a:r>
              <a:rPr lang="nl-NL" dirty="0" err="1"/>
              <a:t>PoC</a:t>
            </a:r>
            <a:r>
              <a:rPr lang="nl-NL" dirty="0"/>
              <a:t/>
            </a:r>
            <a:br>
              <a:rPr lang="nl-NL" dirty="0"/>
            </a:br>
            <a:r>
              <a:rPr lang="nl-NL" sz="1600" dirty="0"/>
              <a:t>ten behoeve van Verwerving ECM</a:t>
            </a:r>
          </a:p>
        </p:txBody>
      </p:sp>
      <p:sp>
        <p:nvSpPr>
          <p:cNvPr id="3" name="Ondertitel 2"/>
          <p:cNvSpPr>
            <a:spLocks noGrp="1"/>
          </p:cNvSpPr>
          <p:nvPr>
            <p:ph type="subTitle" idx="1"/>
          </p:nvPr>
        </p:nvSpPr>
        <p:spPr/>
        <p:txBody>
          <a:bodyPr/>
          <a:lstStyle/>
          <a:p>
            <a:r>
              <a:rPr lang="nl-NL" dirty="0"/>
              <a:t>21 September 2022</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4777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92" imgH="595" progId="TCLayout.ActiveDocument.1">
                  <p:embed/>
                </p:oleObj>
              </mc:Choice>
              <mc:Fallback>
                <p:oleObj name="think-cell Slide" r:id="rId5" imgW="592" imgH="59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p>
            <a:r>
              <a:rPr lang="nl-NL" dirty="0"/>
              <a:t>Agenda</a:t>
            </a:r>
          </a:p>
        </p:txBody>
      </p:sp>
      <p:sp>
        <p:nvSpPr>
          <p:cNvPr id="3" name="Tijdelijke aanduiding voor inhoud 2"/>
          <p:cNvSpPr>
            <a:spLocks noGrp="1"/>
          </p:cNvSpPr>
          <p:nvPr>
            <p:ph idx="1"/>
          </p:nvPr>
        </p:nvSpPr>
        <p:spPr bwMode="gray"/>
        <p:txBody>
          <a:bodyPr/>
          <a:lstStyle/>
          <a:p>
            <a:pPr marL="342900" indent="-342900">
              <a:buFont typeface="+mj-lt"/>
              <a:buAutoNum type="arabicPeriod"/>
            </a:pPr>
            <a:r>
              <a:rPr lang="nl-NL" dirty="0"/>
              <a:t>Introductie OM aanwezigen</a:t>
            </a:r>
          </a:p>
          <a:p>
            <a:pPr marL="342900" indent="-342900">
              <a:buFont typeface="+mj-lt"/>
              <a:buAutoNum type="arabicPeriod"/>
            </a:pPr>
            <a:r>
              <a:rPr lang="nl-NL" dirty="0"/>
              <a:t>Richtlijnen Inlichtingenbijeenkomst </a:t>
            </a:r>
            <a:r>
              <a:rPr lang="nl-NL" dirty="0" err="1"/>
              <a:t>PoC</a:t>
            </a:r>
            <a:endParaRPr lang="nl-NL" dirty="0"/>
          </a:p>
          <a:p>
            <a:pPr marL="342900" indent="-342900">
              <a:buFont typeface="+mj-lt"/>
              <a:buAutoNum type="arabicPeriod"/>
            </a:pPr>
            <a:r>
              <a:rPr lang="nl-NL" dirty="0"/>
              <a:t>Aanleiding aanbesteding ECM</a:t>
            </a:r>
          </a:p>
          <a:p>
            <a:pPr marL="342900" indent="-342900">
              <a:buFont typeface="+mj-lt"/>
              <a:buAutoNum type="arabicPeriod"/>
            </a:pPr>
            <a:r>
              <a:rPr lang="nl-NL" dirty="0"/>
              <a:t>Kernonderwerpen Gebruikers</a:t>
            </a:r>
          </a:p>
          <a:p>
            <a:pPr marL="342900" indent="-342900">
              <a:buFont typeface="+mj-lt"/>
              <a:buAutoNum type="arabicPeriod"/>
            </a:pPr>
            <a:r>
              <a:rPr lang="nl-NL" dirty="0"/>
              <a:t>Kernonderwerpen Architectuur</a:t>
            </a:r>
          </a:p>
          <a:p>
            <a:pPr marL="342900" indent="-342900">
              <a:buFont typeface="+mj-lt"/>
              <a:buAutoNum type="arabicPeriod"/>
            </a:pPr>
            <a:r>
              <a:rPr lang="nl-NL" dirty="0"/>
              <a:t>Context en toelichting caseomschrijving</a:t>
            </a:r>
          </a:p>
          <a:p>
            <a:pPr marL="342900" indent="-342900">
              <a:buFont typeface="+mj-lt"/>
              <a:buAutoNum type="arabicPeriod"/>
            </a:pPr>
            <a:r>
              <a:rPr lang="nl-NL" dirty="0"/>
              <a:t>Vragenronde</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048907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3" name="think-cell Slide" r:id="rId6" imgW="592" imgH="595" progId="TCLayout.ActiveDocument.1">
                  <p:embed/>
                </p:oleObj>
              </mc:Choice>
              <mc:Fallback>
                <p:oleObj name="think-cell Slide" r:id="rId6" imgW="592" imgH="595"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088502" rtl="0" eaLnBrk="1" fontAlgn="auto" latinLnBrk="0" hangingPunct="1">
              <a:lnSpc>
                <a:spcPct val="100000"/>
              </a:lnSpc>
              <a:spcBef>
                <a:spcPct val="0"/>
              </a:spcBef>
              <a:spcAft>
                <a:spcPct val="0"/>
              </a:spcAft>
              <a:buClrTx/>
              <a:buSzTx/>
              <a:buFontTx/>
              <a:buNone/>
              <a:tabLst/>
              <a:defRPr/>
            </a:pPr>
            <a:endParaRPr kumimoji="0" lang="nl-NL" sz="24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2" name="Titel 1"/>
          <p:cNvSpPr>
            <a:spLocks noGrp="1"/>
          </p:cNvSpPr>
          <p:nvPr>
            <p:ph type="title"/>
          </p:nvPr>
        </p:nvSpPr>
        <p:spPr bwMode="gray"/>
        <p:txBody>
          <a:bodyPr vert="horz"/>
          <a:lstStyle/>
          <a:p>
            <a:r>
              <a:rPr lang="nl-NL" dirty="0"/>
              <a:t>2. Richtlijnen Inlichtingenbijeenkomst </a:t>
            </a:r>
            <a:r>
              <a:rPr lang="nl-NL" dirty="0" err="1"/>
              <a:t>PoC</a:t>
            </a:r>
            <a:endParaRPr lang="nl-NL" dirty="0"/>
          </a:p>
        </p:txBody>
      </p:sp>
      <p:sp>
        <p:nvSpPr>
          <p:cNvPr id="15" name="Tijdelijke aanduiding voor inhoud 1"/>
          <p:cNvSpPr>
            <a:spLocks noGrp="1"/>
          </p:cNvSpPr>
          <p:nvPr>
            <p:ph sz="quarter" idx="4294967295"/>
          </p:nvPr>
        </p:nvSpPr>
        <p:spPr>
          <a:xfrm>
            <a:off x="1079500" y="1893888"/>
            <a:ext cx="10272713" cy="3552129"/>
          </a:xfrm>
          <a:prstGeom prst="rect">
            <a:avLst/>
          </a:prstGeom>
        </p:spPr>
        <p:txBody>
          <a:bodyPr wrap="square" tIns="0" numCol="1" anchor="t" anchorCtr="0" compatLnSpc="1">
            <a:prstTxWarp prst="textNoShape">
              <a:avLst/>
            </a:prstTxWarp>
          </a:bodyPr>
          <a:lstStyle/>
          <a:p>
            <a:pPr marL="0" indent="0">
              <a:spcBef>
                <a:spcPts val="400"/>
              </a:spcBef>
              <a:spcAft>
                <a:spcPts val="400"/>
              </a:spcAft>
              <a:buNone/>
            </a:pPr>
            <a:r>
              <a:rPr lang="nl-NL" sz="1200" dirty="0"/>
              <a:t>Praktische zaken met betrekking tot de Inlichtingenbijeenkomst </a:t>
            </a:r>
            <a:r>
              <a:rPr lang="nl-NL" sz="1200" dirty="0" err="1"/>
              <a:t>PoC</a:t>
            </a:r>
            <a:r>
              <a:rPr lang="nl-NL" sz="1200" dirty="0"/>
              <a:t> zijn: </a:t>
            </a:r>
          </a:p>
          <a:p>
            <a:pPr>
              <a:spcBef>
                <a:spcPts val="400"/>
              </a:spcBef>
              <a:spcAft>
                <a:spcPts val="400"/>
              </a:spcAft>
            </a:pPr>
            <a:r>
              <a:rPr lang="nl-NL" sz="1200" dirty="0"/>
              <a:t>De agenda is toegespitst op 3 uur;</a:t>
            </a:r>
          </a:p>
          <a:p>
            <a:pPr>
              <a:spcBef>
                <a:spcPts val="400"/>
              </a:spcBef>
              <a:spcAft>
                <a:spcPts val="400"/>
              </a:spcAft>
            </a:pPr>
            <a:r>
              <a:rPr lang="nl-NL" sz="1200" dirty="0"/>
              <a:t>Tijdens de bijeenkomst, is het verzoek om de onderstaande richtlijnen te hanteren;</a:t>
            </a:r>
          </a:p>
          <a:p>
            <a:pPr marL="612900" lvl="1" indent="-342900">
              <a:spcBef>
                <a:spcPts val="400"/>
              </a:spcBef>
              <a:spcAft>
                <a:spcPts val="400"/>
              </a:spcAft>
              <a:buFont typeface="+mj-lt"/>
              <a:buAutoNum type="arabicPeriod"/>
            </a:pPr>
            <a:r>
              <a:rPr lang="nl-NL" sz="1200" dirty="0"/>
              <a:t>Het OM geeft u het woord wanneer u een vraag wilt stellen;</a:t>
            </a:r>
          </a:p>
          <a:p>
            <a:pPr marL="612900" lvl="1" indent="-342900">
              <a:spcBef>
                <a:spcPts val="400"/>
              </a:spcBef>
              <a:spcAft>
                <a:spcPts val="400"/>
              </a:spcAft>
              <a:buFont typeface="+mj-lt"/>
              <a:buAutoNum type="arabicPeriod"/>
            </a:pPr>
            <a:r>
              <a:rPr lang="nl-NL" sz="1200" dirty="0"/>
              <a:t>De vragen mogen gedurende de presentaties gesteld worden.</a:t>
            </a:r>
          </a:p>
          <a:p>
            <a:pPr>
              <a:spcBef>
                <a:spcPts val="400"/>
              </a:spcBef>
              <a:spcAft>
                <a:spcPts val="400"/>
              </a:spcAft>
            </a:pPr>
            <a:r>
              <a:rPr lang="nl-NL" sz="1200" dirty="0"/>
              <a:t>De reikwijdte van de meeting betreft uitsluitend de casus en geen andere zaken rondom de aanbesteding;</a:t>
            </a:r>
          </a:p>
          <a:p>
            <a:pPr>
              <a:spcBef>
                <a:spcPts val="400"/>
              </a:spcBef>
              <a:spcAft>
                <a:spcPts val="400"/>
              </a:spcAft>
            </a:pPr>
            <a:r>
              <a:rPr lang="nl-NL" sz="1200" dirty="0"/>
              <a:t>Er kunnen geen rechten worden ontleend aan hetgeen wordt toegelicht tijdens deze bijeenkomst.</a:t>
            </a:r>
          </a:p>
          <a:p>
            <a:pPr marL="0" indent="0">
              <a:spcBef>
                <a:spcPts val="400"/>
              </a:spcBef>
              <a:spcAft>
                <a:spcPts val="400"/>
              </a:spcAft>
              <a:buNone/>
            </a:pPr>
            <a:endParaRPr lang="nl-NL" sz="1200" dirty="0"/>
          </a:p>
          <a:p>
            <a:pPr marL="0" indent="0">
              <a:spcBef>
                <a:spcPts val="400"/>
              </a:spcBef>
              <a:spcAft>
                <a:spcPts val="400"/>
              </a:spcAft>
              <a:buNone/>
            </a:pPr>
            <a:r>
              <a:rPr lang="nl-NL" sz="1200" i="1" dirty="0"/>
              <a:t>Tijdens de informatiebijeenkomst kunnen vragen worden gesteld, die voor zover mogelijk direct door Opdrachtgever beantwoord worden. Voor een officiële beantwoording, waar rechten aan kunnen worden ontleend, dient gebruik gemaakt te worden van de procedure voor het indienen van verzoeken om inlichtingen ten behoeve van de Nota van Inlichtingen (</a:t>
            </a:r>
            <a:r>
              <a:rPr lang="nl-NL" sz="1200" i="1" dirty="0" err="1"/>
              <a:t>NvI</a:t>
            </a:r>
            <a:r>
              <a:rPr lang="nl-NL" sz="1200" i="1" dirty="0"/>
              <a:t>) als beschreven in hoofdstuk 2.6 van het Beschrijvend document.</a:t>
            </a:r>
          </a:p>
          <a:p>
            <a:pPr>
              <a:spcBef>
                <a:spcPts val="400"/>
              </a:spcBef>
              <a:spcAft>
                <a:spcPts val="400"/>
              </a:spcAft>
            </a:pPr>
            <a:endParaRPr lang="nl-NL" sz="1200" dirty="0"/>
          </a:p>
          <a:p>
            <a:pPr>
              <a:spcBef>
                <a:spcPts val="400"/>
              </a:spcBef>
              <a:spcAft>
                <a:spcPts val="400"/>
              </a:spcAft>
            </a:pPr>
            <a:endParaRPr lang="nl-NL" sz="1200" dirty="0"/>
          </a:p>
        </p:txBody>
      </p:sp>
    </p:spTree>
    <p:extLst>
      <p:ext uri="{BB962C8B-B14F-4D97-AF65-F5344CB8AC3E}">
        <p14:creationId xmlns:p14="http://schemas.microsoft.com/office/powerpoint/2010/main" val="17054560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19916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6" imgW="592" imgH="595" progId="TCLayout.ActiveDocument.1">
                  <p:embed/>
                </p:oleObj>
              </mc:Choice>
              <mc:Fallback>
                <p:oleObj name="think-cell Slide" r:id="rId6" imgW="592" imgH="595"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nl-NL" sz="2400" b="1" dirty="0">
              <a:latin typeface="Verdana" panose="020B0604030504040204" pitchFamily="34" charset="0"/>
              <a:ea typeface="+mj-ea"/>
              <a:cs typeface="+mj-cs"/>
              <a:sym typeface="Verdana" panose="020B0604030504040204" pitchFamily="34" charset="0"/>
            </a:endParaRPr>
          </a:p>
        </p:txBody>
      </p:sp>
      <p:sp>
        <p:nvSpPr>
          <p:cNvPr id="2" name="Titel 1"/>
          <p:cNvSpPr>
            <a:spLocks noGrp="1"/>
          </p:cNvSpPr>
          <p:nvPr>
            <p:ph type="title"/>
          </p:nvPr>
        </p:nvSpPr>
        <p:spPr bwMode="gray"/>
        <p:txBody>
          <a:bodyPr vert="horz"/>
          <a:lstStyle/>
          <a:p>
            <a:r>
              <a:rPr lang="nl-NL" dirty="0"/>
              <a:t>3. Aanleiding aanbesteding ECM</a:t>
            </a:r>
          </a:p>
        </p:txBody>
      </p:sp>
      <p:sp>
        <p:nvSpPr>
          <p:cNvPr id="15" name="Tijdelijke aanduiding voor inhoud 1"/>
          <p:cNvSpPr>
            <a:spLocks noGrp="1"/>
          </p:cNvSpPr>
          <p:nvPr>
            <p:ph sz="quarter" idx="4294967295"/>
          </p:nvPr>
        </p:nvSpPr>
        <p:spPr>
          <a:xfrm>
            <a:off x="1079500" y="1893888"/>
            <a:ext cx="10272713" cy="3887787"/>
          </a:xfrm>
          <a:prstGeom prst="rect">
            <a:avLst/>
          </a:prstGeom>
        </p:spPr>
        <p:txBody>
          <a:bodyPr wrap="square" numCol="1" anchor="t" anchorCtr="0" compatLnSpc="1">
            <a:prstTxWarp prst="textNoShape">
              <a:avLst/>
            </a:prstTxWarp>
          </a:bodyPr>
          <a:lstStyle/>
          <a:p>
            <a:pPr marL="0" indent="0">
              <a:buNone/>
            </a:pPr>
            <a:r>
              <a:rPr lang="nl-NL" sz="1200" dirty="0"/>
              <a:t>Het OM programma Emma heeft als doel het moderniseren van het IT-landschap voor strafzaken en tegelijkertijd processen en werkwijzen te verbeteren, zodat invulling wordt gegeven aan de doelstellingen achter de genoemde thema’s, gebruik wordt gemaakt van de mogelijkheden van digitale technologie en het OM in staat wordt gesteld het nieuwe Wetboek van Strafvordering goed uit te kunnen voeren. Het OM gaat de komende jaren aan de slag met vernieuwing van haar primair proces systemen. De vernieuwing vindt plaats onder architectuur waarbij herbruikbare bouwstenen in verschillende IV-ketens ingezet kunnen worden. </a:t>
            </a:r>
          </a:p>
          <a:p>
            <a:pPr marL="0" indent="0">
              <a:buNone/>
            </a:pPr>
            <a:endParaRPr lang="nl-NL" sz="1200" b="1" dirty="0"/>
          </a:p>
          <a:p>
            <a:pPr marL="0" indent="0">
              <a:buNone/>
            </a:pPr>
            <a:endParaRPr lang="nl-NL" sz="1200" b="1" dirty="0"/>
          </a:p>
          <a:p>
            <a:pPr marL="0" indent="0">
              <a:buNone/>
            </a:pPr>
            <a:r>
              <a:rPr lang="nl-NL" sz="1200" b="1" dirty="0"/>
              <a:t>In het systeemlandschap van het OM ontbreekt op dit moment een toekomst vaste oplossing voor Enterprise Content Management (ECM).</a:t>
            </a:r>
          </a:p>
          <a:p>
            <a:pPr marL="0" indent="0">
              <a:buNone/>
            </a:pPr>
            <a:endParaRPr lang="nl-NL" sz="1200" b="1" dirty="0"/>
          </a:p>
          <a:p>
            <a:pPr marL="0" indent="0">
              <a:buNone/>
            </a:pPr>
            <a:endParaRPr lang="nl-NL" sz="1200" b="1" dirty="0"/>
          </a:p>
          <a:p>
            <a:pPr marL="0" indent="0">
              <a:buNone/>
            </a:pPr>
            <a:r>
              <a:rPr lang="nl-NL" sz="1200" b="1" dirty="0"/>
              <a:t>Definitie ECM: </a:t>
            </a:r>
            <a:r>
              <a:rPr lang="nl-NL" sz="1200" dirty="0"/>
              <a:t>“Het beheren van de volledige levenscyclus van ongestructureerde informatie die binnen een organisatie wordt gebruikt”. </a:t>
            </a:r>
          </a:p>
          <a:p>
            <a:pPr eaLnBrk="1" hangingPunct="1">
              <a:spcBef>
                <a:spcPts val="400"/>
              </a:spcBef>
              <a:spcAft>
                <a:spcPts val="400"/>
              </a:spcAft>
              <a:buFont typeface="Wingdings" panose="05000000000000000000" pitchFamily="2" charset="2"/>
              <a:buChar char="§"/>
            </a:pPr>
            <a:endParaRPr lang="nl-NL" altLang="nl-NL" dirty="0"/>
          </a:p>
        </p:txBody>
      </p:sp>
    </p:spTree>
    <p:extLst>
      <p:ext uri="{BB962C8B-B14F-4D97-AF65-F5344CB8AC3E}">
        <p14:creationId xmlns:p14="http://schemas.microsoft.com/office/powerpoint/2010/main" val="9792757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105711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6" imgW="592" imgH="595" progId="TCLayout.ActiveDocument.1">
                  <p:embed/>
                </p:oleObj>
              </mc:Choice>
              <mc:Fallback>
                <p:oleObj name="think-cell Slide" r:id="rId6" imgW="592" imgH="595"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nl-NL" sz="2400" b="1" dirty="0">
              <a:latin typeface="Verdana" panose="020B0604030504040204" pitchFamily="34" charset="0"/>
              <a:ea typeface="+mj-ea"/>
              <a:cs typeface="+mj-cs"/>
              <a:sym typeface="Verdana" panose="020B0604030504040204" pitchFamily="34" charset="0"/>
            </a:endParaRPr>
          </a:p>
        </p:txBody>
      </p:sp>
      <p:sp>
        <p:nvSpPr>
          <p:cNvPr id="2" name="Titel 1"/>
          <p:cNvSpPr>
            <a:spLocks noGrp="1"/>
          </p:cNvSpPr>
          <p:nvPr>
            <p:ph type="title"/>
          </p:nvPr>
        </p:nvSpPr>
        <p:spPr bwMode="gray"/>
        <p:txBody>
          <a:bodyPr vert="horz"/>
          <a:lstStyle/>
          <a:p>
            <a:r>
              <a:rPr lang="nl-NL" dirty="0"/>
              <a:t>4. Kernonderwerpen Gebruikers</a:t>
            </a:r>
          </a:p>
        </p:txBody>
      </p:sp>
      <p:sp>
        <p:nvSpPr>
          <p:cNvPr id="15" name="Tijdelijke aanduiding voor inhoud 1"/>
          <p:cNvSpPr>
            <a:spLocks noGrp="1"/>
          </p:cNvSpPr>
          <p:nvPr>
            <p:ph sz="quarter" idx="4294967295"/>
          </p:nvPr>
        </p:nvSpPr>
        <p:spPr>
          <a:xfrm>
            <a:off x="1102792" y="1773610"/>
            <a:ext cx="10873208" cy="3638500"/>
          </a:xfrm>
          <a:prstGeom prst="rect">
            <a:avLst/>
          </a:prstGeom>
        </p:spPr>
        <p:txBody>
          <a:bodyPr wrap="square" tIns="0" numCol="1" anchor="t" anchorCtr="0" compatLnSpc="1">
            <a:prstTxWarp prst="textNoShape">
              <a:avLst/>
            </a:prstTxWarp>
          </a:bodyPr>
          <a:lstStyle/>
          <a:p>
            <a:pPr marL="0" indent="0" eaLnBrk="1" hangingPunct="1">
              <a:spcBef>
                <a:spcPts val="400"/>
              </a:spcBef>
              <a:spcAft>
                <a:spcPts val="400"/>
              </a:spcAft>
              <a:buNone/>
            </a:pPr>
            <a:r>
              <a:rPr lang="nl-NL" altLang="nl-NL" sz="1400" b="1" dirty="0"/>
              <a:t>Beoogde toekomstige situatie</a:t>
            </a:r>
          </a:p>
          <a:p>
            <a:pPr marL="270000" lvl="2">
              <a:lnSpc>
                <a:spcPct val="150000"/>
              </a:lnSpc>
              <a:spcBef>
                <a:spcPts val="400"/>
              </a:spcBef>
              <a:spcAft>
                <a:spcPts val="400"/>
              </a:spcAft>
              <a:buFont typeface="Wingdings" panose="05000000000000000000" pitchFamily="2" charset="2"/>
              <a:buChar char="§"/>
            </a:pPr>
            <a:r>
              <a:rPr lang="nl-NL" sz="1200" dirty="0"/>
              <a:t>Alle type strafzaken behandelen in eenzelfde omgeving;</a:t>
            </a:r>
          </a:p>
          <a:p>
            <a:pPr marL="270000" lvl="2">
              <a:lnSpc>
                <a:spcPct val="150000"/>
              </a:lnSpc>
              <a:spcBef>
                <a:spcPts val="400"/>
              </a:spcBef>
              <a:spcAft>
                <a:spcPts val="400"/>
              </a:spcAft>
              <a:buFont typeface="Wingdings" panose="05000000000000000000" pitchFamily="2" charset="2"/>
              <a:buChar char="§"/>
            </a:pPr>
            <a:r>
              <a:rPr lang="nl-NL" sz="1200" dirty="0"/>
              <a:t>Alle fasen binnen de strafzaak dienen inzichtelijk en traceerbaar te zijn en integraal beschikbaar binnen eenzelfde omgeving;</a:t>
            </a:r>
          </a:p>
          <a:p>
            <a:pPr marL="270000" lvl="2">
              <a:lnSpc>
                <a:spcPct val="150000"/>
              </a:lnSpc>
              <a:spcBef>
                <a:spcPts val="400"/>
              </a:spcBef>
              <a:spcAft>
                <a:spcPts val="400"/>
              </a:spcAft>
              <a:buFont typeface="Wingdings" panose="05000000000000000000" pitchFamily="2" charset="2"/>
              <a:buChar char="§"/>
            </a:pPr>
            <a:r>
              <a:rPr lang="nl-NL" sz="1200" dirty="0"/>
              <a:t>Afscherming van zaken en of delen van zaken is van groot van belang;</a:t>
            </a:r>
          </a:p>
          <a:p>
            <a:pPr marL="270000" lvl="2">
              <a:lnSpc>
                <a:spcPct val="150000"/>
              </a:lnSpc>
              <a:spcBef>
                <a:spcPts val="400"/>
              </a:spcBef>
              <a:spcAft>
                <a:spcPts val="400"/>
              </a:spcAft>
              <a:buFont typeface="Wingdings" panose="05000000000000000000" pitchFamily="2" charset="2"/>
              <a:buChar char="§"/>
            </a:pPr>
            <a:r>
              <a:rPr lang="nl-NL" sz="1200" dirty="0"/>
              <a:t>Volledige integratie tussen dossier en zaak;</a:t>
            </a:r>
          </a:p>
          <a:p>
            <a:pPr marL="270000" lvl="2">
              <a:lnSpc>
                <a:spcPct val="150000"/>
              </a:lnSpc>
              <a:spcBef>
                <a:spcPts val="400"/>
              </a:spcBef>
              <a:spcAft>
                <a:spcPts val="400"/>
              </a:spcAft>
              <a:buFont typeface="Wingdings" panose="05000000000000000000" pitchFamily="2" charset="2"/>
              <a:buChar char="§"/>
            </a:pPr>
            <a:r>
              <a:rPr lang="nl-NL" sz="1200" dirty="0"/>
              <a:t>Het systeem dient voor zowel beoordelaars als voor de administratieve ondersteuning toegankelijk en inzetbaar te zijn;</a:t>
            </a:r>
          </a:p>
          <a:p>
            <a:pPr marL="270000" lvl="2">
              <a:lnSpc>
                <a:spcPct val="150000"/>
              </a:lnSpc>
              <a:spcBef>
                <a:spcPts val="400"/>
              </a:spcBef>
              <a:spcAft>
                <a:spcPts val="400"/>
              </a:spcAft>
              <a:buFont typeface="Wingdings" panose="05000000000000000000" pitchFamily="2" charset="2"/>
              <a:buChar char="§"/>
            </a:pPr>
            <a:r>
              <a:rPr lang="nl-NL" sz="1200" dirty="0"/>
              <a:t>De interactie met onze ketenpartners (minimaal 25 ketenpartners) dient optimaal ondersteund te worden.</a:t>
            </a:r>
          </a:p>
          <a:p>
            <a:pPr marL="270000" lvl="2">
              <a:lnSpc>
                <a:spcPts val="1400"/>
              </a:lnSpc>
              <a:spcBef>
                <a:spcPts val="400"/>
              </a:spcBef>
              <a:spcAft>
                <a:spcPts val="400"/>
              </a:spcAft>
              <a:buFont typeface="Wingdings" panose="05000000000000000000" pitchFamily="2" charset="2"/>
              <a:buChar char="§"/>
            </a:pPr>
            <a:endParaRPr lang="nl-NL" dirty="0"/>
          </a:p>
          <a:p>
            <a:pPr marL="270000" lvl="2">
              <a:lnSpc>
                <a:spcPts val="1400"/>
              </a:lnSpc>
              <a:spcBef>
                <a:spcPts val="400"/>
              </a:spcBef>
              <a:spcAft>
                <a:spcPts val="400"/>
              </a:spcAft>
              <a:buFont typeface="Wingdings" panose="05000000000000000000" pitchFamily="2" charset="2"/>
              <a:buChar char="§"/>
            </a:pPr>
            <a:endParaRPr lang="nl-NL" dirty="0"/>
          </a:p>
          <a:p>
            <a:pPr marL="0" indent="0">
              <a:spcBef>
                <a:spcPts val="400"/>
              </a:spcBef>
              <a:spcAft>
                <a:spcPts val="400"/>
              </a:spcAft>
              <a:buNone/>
            </a:pPr>
            <a:endParaRPr lang="nl-NL" dirty="0">
              <a:highlight>
                <a:srgbClr val="FFFF00"/>
              </a:highlight>
            </a:endParaRPr>
          </a:p>
        </p:txBody>
      </p:sp>
    </p:spTree>
    <p:extLst>
      <p:ext uri="{BB962C8B-B14F-4D97-AF65-F5344CB8AC3E}">
        <p14:creationId xmlns:p14="http://schemas.microsoft.com/office/powerpoint/2010/main" val="38917419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141915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8" name="think-cell Slide" r:id="rId6" imgW="592" imgH="595" progId="TCLayout.ActiveDocument.1">
                  <p:embed/>
                </p:oleObj>
              </mc:Choice>
              <mc:Fallback>
                <p:oleObj name="think-cell Slide" r:id="rId6" imgW="592" imgH="595"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nl-NL" sz="2400" b="1" dirty="0">
              <a:latin typeface="Verdana" panose="020B0604030504040204" pitchFamily="34" charset="0"/>
              <a:ea typeface="+mj-ea"/>
              <a:cs typeface="+mj-cs"/>
              <a:sym typeface="Verdana" panose="020B0604030504040204" pitchFamily="34" charset="0"/>
            </a:endParaRPr>
          </a:p>
        </p:txBody>
      </p:sp>
      <p:sp>
        <p:nvSpPr>
          <p:cNvPr id="2" name="Titel 1"/>
          <p:cNvSpPr>
            <a:spLocks noGrp="1"/>
          </p:cNvSpPr>
          <p:nvPr>
            <p:ph type="title"/>
          </p:nvPr>
        </p:nvSpPr>
        <p:spPr bwMode="gray"/>
        <p:txBody>
          <a:bodyPr vert="horz"/>
          <a:lstStyle/>
          <a:p>
            <a:r>
              <a:rPr lang="nl-NL" dirty="0"/>
              <a:t>5. Kernonderwerpen Architectuur</a:t>
            </a:r>
          </a:p>
        </p:txBody>
      </p:sp>
      <p:sp>
        <p:nvSpPr>
          <p:cNvPr id="15" name="Tijdelijke aanduiding voor inhoud 1"/>
          <p:cNvSpPr>
            <a:spLocks noGrp="1"/>
          </p:cNvSpPr>
          <p:nvPr>
            <p:ph sz="quarter" idx="4294967295"/>
          </p:nvPr>
        </p:nvSpPr>
        <p:spPr>
          <a:xfrm>
            <a:off x="1081183" y="1714887"/>
            <a:ext cx="10272713" cy="2327994"/>
          </a:xfrm>
          <a:prstGeom prst="rect">
            <a:avLst/>
          </a:prstGeom>
        </p:spPr>
        <p:txBody>
          <a:bodyPr wrap="square" tIns="0" numCol="1" anchor="t" anchorCtr="0" compatLnSpc="1">
            <a:prstTxWarp prst="textNoShape">
              <a:avLst/>
            </a:prstTxWarp>
          </a:bodyPr>
          <a:lstStyle/>
          <a:p>
            <a:pPr marL="0" lvl="2" indent="0">
              <a:lnSpc>
                <a:spcPct val="150000"/>
              </a:lnSpc>
              <a:spcBef>
                <a:spcPts val="400"/>
              </a:spcBef>
              <a:spcAft>
                <a:spcPts val="400"/>
              </a:spcAft>
              <a:buNone/>
            </a:pPr>
            <a:r>
              <a:rPr lang="nl-NL" altLang="nl-NL" sz="1400" b="1" dirty="0"/>
              <a:t>Beoogde toekomstige situatie</a:t>
            </a:r>
            <a:endParaRPr lang="nl-NL" sz="1400" dirty="0"/>
          </a:p>
          <a:p>
            <a:pPr marL="270000" lvl="2">
              <a:lnSpc>
                <a:spcPct val="150000"/>
              </a:lnSpc>
              <a:spcBef>
                <a:spcPts val="400"/>
              </a:spcBef>
              <a:spcAft>
                <a:spcPts val="400"/>
              </a:spcAft>
              <a:buFont typeface="Wingdings" panose="05000000000000000000" pitchFamily="2" charset="2"/>
              <a:buChar char="§"/>
            </a:pPr>
            <a:r>
              <a:rPr lang="nl-NL" sz="1200" dirty="0"/>
              <a:t>De ECM programmatuur dient als (herbruikbare) bouwsteen in de nieuwe architectuur;</a:t>
            </a:r>
          </a:p>
          <a:p>
            <a:pPr marL="270000" lvl="2">
              <a:lnSpc>
                <a:spcPct val="150000"/>
              </a:lnSpc>
              <a:spcBef>
                <a:spcPts val="400"/>
              </a:spcBef>
              <a:spcAft>
                <a:spcPts val="400"/>
              </a:spcAft>
              <a:buFont typeface="Wingdings" panose="05000000000000000000" pitchFamily="2" charset="2"/>
              <a:buChar char="§"/>
            </a:pPr>
            <a:r>
              <a:rPr lang="nl-NL" sz="1200" dirty="0"/>
              <a:t>De kernfuncties van ECM zullen worden gebruikt, waarbij de aansturing vanuit omringende componenten (o.a. CM) zal verlopen;</a:t>
            </a:r>
          </a:p>
          <a:p>
            <a:pPr marL="270000" lvl="2">
              <a:lnSpc>
                <a:spcPct val="150000"/>
              </a:lnSpc>
              <a:spcBef>
                <a:spcPts val="400"/>
              </a:spcBef>
              <a:spcAft>
                <a:spcPts val="400"/>
              </a:spcAft>
              <a:buFont typeface="Wingdings" panose="05000000000000000000" pitchFamily="2" charset="2"/>
              <a:buChar char="§"/>
            </a:pPr>
            <a:r>
              <a:rPr lang="nl-NL" sz="1200" dirty="0"/>
              <a:t>De opslag en beheer op documenten en bestanden verloopt via ECM;</a:t>
            </a:r>
          </a:p>
          <a:p>
            <a:pPr marL="270000" lvl="2">
              <a:lnSpc>
                <a:spcPct val="150000"/>
              </a:lnSpc>
              <a:spcBef>
                <a:spcPts val="400"/>
              </a:spcBef>
              <a:spcAft>
                <a:spcPts val="400"/>
              </a:spcAft>
              <a:buFont typeface="Wingdings" panose="05000000000000000000" pitchFamily="2" charset="2"/>
              <a:buChar char="§"/>
            </a:pPr>
            <a:r>
              <a:rPr lang="nl-NL" sz="1200" dirty="0"/>
              <a:t>Belangrijke functionaliteiten die worden verwacht zijn: ontsluiting, annoteren, bewerken, zoeken, delen, etc.;</a:t>
            </a:r>
          </a:p>
          <a:p>
            <a:pPr marL="270000" lvl="2">
              <a:lnSpc>
                <a:spcPct val="150000"/>
              </a:lnSpc>
              <a:spcBef>
                <a:spcPts val="400"/>
              </a:spcBef>
              <a:spcAft>
                <a:spcPts val="400"/>
              </a:spcAft>
              <a:buFont typeface="Wingdings" panose="05000000000000000000" pitchFamily="2" charset="2"/>
              <a:buChar char="§"/>
            </a:pPr>
            <a:r>
              <a:rPr lang="nl-NL" sz="1200" dirty="0"/>
              <a:t>Het ECM moet een zero trust inrichting kunnen ondersteunen;</a:t>
            </a:r>
          </a:p>
          <a:p>
            <a:pPr marL="270000" lvl="2">
              <a:lnSpc>
                <a:spcPct val="150000"/>
              </a:lnSpc>
              <a:spcBef>
                <a:spcPts val="400"/>
              </a:spcBef>
              <a:spcAft>
                <a:spcPts val="400"/>
              </a:spcAft>
              <a:buFont typeface="Wingdings" panose="05000000000000000000" pitchFamily="2" charset="2"/>
              <a:buChar char="§"/>
            </a:pPr>
            <a:r>
              <a:rPr lang="nl-NL" sz="1200" dirty="0"/>
              <a:t>Het OM verwacht dat het volume op het ECM ongeveer 240 terabyte per jaar groeit;</a:t>
            </a:r>
          </a:p>
          <a:p>
            <a:pPr marL="270000" lvl="2">
              <a:lnSpc>
                <a:spcPct val="150000"/>
              </a:lnSpc>
              <a:spcBef>
                <a:spcPts val="400"/>
              </a:spcBef>
              <a:spcAft>
                <a:spcPts val="400"/>
              </a:spcAft>
              <a:buFont typeface="Wingdings" panose="05000000000000000000" pitchFamily="2" charset="2"/>
              <a:buChar char="§"/>
            </a:pPr>
            <a:r>
              <a:rPr lang="nl-NL" sz="1200" dirty="0"/>
              <a:t>De onafhankelijkheid van het Openbaar Ministerie wordt gegarandeerd;</a:t>
            </a:r>
          </a:p>
          <a:p>
            <a:pPr marL="270000" lvl="2">
              <a:lnSpc>
                <a:spcPct val="150000"/>
              </a:lnSpc>
              <a:spcBef>
                <a:spcPts val="400"/>
              </a:spcBef>
              <a:spcAft>
                <a:spcPts val="400"/>
              </a:spcAft>
              <a:buFont typeface="Wingdings" panose="05000000000000000000" pitchFamily="2" charset="2"/>
              <a:buChar char="§"/>
            </a:pPr>
            <a:r>
              <a:rPr lang="nl-NL" sz="1200" dirty="0"/>
              <a:t>Het gewenst toekomstbeeld vanuit OM omvat: Cloud-technologie, API-first en modelleerbare software;</a:t>
            </a:r>
          </a:p>
          <a:p>
            <a:pPr marL="270000" lvl="2">
              <a:lnSpc>
                <a:spcPct val="150000"/>
              </a:lnSpc>
              <a:spcBef>
                <a:spcPts val="400"/>
              </a:spcBef>
              <a:spcAft>
                <a:spcPts val="400"/>
              </a:spcAft>
              <a:buFont typeface="Wingdings" panose="05000000000000000000" pitchFamily="2" charset="2"/>
              <a:buChar char="§"/>
            </a:pPr>
            <a:r>
              <a:rPr lang="nl-NL" sz="1200" dirty="0"/>
              <a:t>De inrichting wordt vanuit het OM georganiseerd (samen met eventuele partners en leveranciers).</a:t>
            </a:r>
          </a:p>
        </p:txBody>
      </p:sp>
    </p:spTree>
    <p:extLst>
      <p:ext uri="{BB962C8B-B14F-4D97-AF65-F5344CB8AC3E}">
        <p14:creationId xmlns:p14="http://schemas.microsoft.com/office/powerpoint/2010/main" val="20150228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6" name="think-cell Slide" r:id="rId6" imgW="592" imgH="595" progId="TCLayout.ActiveDocument.1">
                  <p:embed/>
                </p:oleObj>
              </mc:Choice>
              <mc:Fallback>
                <p:oleObj name="think-cell Slide" r:id="rId6" imgW="592" imgH="595"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nl-NL" sz="2400" b="1" dirty="0">
              <a:latin typeface="Verdana" panose="020B0604030504040204" pitchFamily="34" charset="0"/>
              <a:ea typeface="+mj-ea"/>
              <a:cs typeface="+mj-cs"/>
              <a:sym typeface="Verdana" panose="020B0604030504040204" pitchFamily="34" charset="0"/>
            </a:endParaRPr>
          </a:p>
        </p:txBody>
      </p:sp>
      <p:sp>
        <p:nvSpPr>
          <p:cNvPr id="2" name="Titel 1"/>
          <p:cNvSpPr>
            <a:spLocks noGrp="1"/>
          </p:cNvSpPr>
          <p:nvPr>
            <p:ph type="title"/>
          </p:nvPr>
        </p:nvSpPr>
        <p:spPr bwMode="gray">
          <a:xfrm>
            <a:off x="1081183" y="549474"/>
            <a:ext cx="10080000" cy="868556"/>
          </a:xfrm>
        </p:spPr>
        <p:txBody>
          <a:bodyPr vert="horz"/>
          <a:lstStyle/>
          <a:p>
            <a:r>
              <a:rPr lang="nl-NL" dirty="0"/>
              <a:t>6. Context en toelichting caseomschrijving</a:t>
            </a:r>
          </a:p>
        </p:txBody>
      </p:sp>
      <p:sp>
        <p:nvSpPr>
          <p:cNvPr id="15" name="Tijdelijke aanduiding voor inhoud 1"/>
          <p:cNvSpPr>
            <a:spLocks noGrp="1"/>
          </p:cNvSpPr>
          <p:nvPr>
            <p:ph sz="quarter" idx="4294967295"/>
          </p:nvPr>
        </p:nvSpPr>
        <p:spPr>
          <a:xfrm>
            <a:off x="1076303" y="1768224"/>
            <a:ext cx="4992304" cy="2376264"/>
          </a:xfrm>
          <a:prstGeom prst="rect">
            <a:avLst/>
          </a:prstGeom>
        </p:spPr>
        <p:txBody>
          <a:bodyPr wrap="square" tIns="0" numCol="1" anchor="t" anchorCtr="0" compatLnSpc="1">
            <a:prstTxWarp prst="textNoShape">
              <a:avLst/>
            </a:prstTxWarp>
          </a:bodyPr>
          <a:lstStyle/>
          <a:p>
            <a:pPr marL="0" lvl="2" indent="0">
              <a:lnSpc>
                <a:spcPct val="150000"/>
              </a:lnSpc>
              <a:spcBef>
                <a:spcPts val="400"/>
              </a:spcBef>
              <a:spcAft>
                <a:spcPts val="400"/>
              </a:spcAft>
              <a:buNone/>
            </a:pPr>
            <a:r>
              <a:rPr lang="nl-NL" sz="1400" b="1" dirty="0"/>
              <a:t>Context</a:t>
            </a:r>
          </a:p>
          <a:p>
            <a:pPr marL="270000" lvl="2">
              <a:lnSpc>
                <a:spcPct val="150000"/>
              </a:lnSpc>
              <a:spcBef>
                <a:spcPts val="400"/>
              </a:spcBef>
              <a:spcAft>
                <a:spcPts val="400"/>
              </a:spcAft>
              <a:buFont typeface="Wingdings" panose="05000000000000000000" pitchFamily="2" charset="2"/>
              <a:buChar char="§"/>
            </a:pPr>
            <a:r>
              <a:rPr lang="nl-NL" sz="1200" dirty="0"/>
              <a:t>De casus betreft een fictief scenario;</a:t>
            </a:r>
          </a:p>
          <a:p>
            <a:pPr marL="270000" lvl="2">
              <a:lnSpc>
                <a:spcPct val="150000"/>
              </a:lnSpc>
              <a:spcBef>
                <a:spcPts val="400"/>
              </a:spcBef>
              <a:spcAft>
                <a:spcPts val="400"/>
              </a:spcAft>
              <a:buFont typeface="Wingdings" panose="05000000000000000000" pitchFamily="2" charset="2"/>
              <a:buChar char="§"/>
            </a:pPr>
            <a:r>
              <a:rPr lang="nl-NL" sz="1200" dirty="0"/>
              <a:t>Het OM onderscheidt de verschillende fasen:</a:t>
            </a:r>
          </a:p>
          <a:p>
            <a:pPr marL="720000" lvl="2">
              <a:lnSpc>
                <a:spcPct val="150000"/>
              </a:lnSpc>
              <a:spcBef>
                <a:spcPts val="400"/>
              </a:spcBef>
              <a:spcAft>
                <a:spcPts val="400"/>
              </a:spcAft>
              <a:buFont typeface="Wingdings" panose="05000000000000000000" pitchFamily="2" charset="2"/>
              <a:buChar char="§"/>
            </a:pPr>
            <a:r>
              <a:rPr lang="nl-NL" sz="1200" dirty="0"/>
              <a:t>Opsporing;</a:t>
            </a:r>
          </a:p>
          <a:p>
            <a:pPr marL="720000" lvl="2">
              <a:lnSpc>
                <a:spcPct val="150000"/>
              </a:lnSpc>
              <a:spcBef>
                <a:spcPts val="400"/>
              </a:spcBef>
              <a:spcAft>
                <a:spcPts val="400"/>
              </a:spcAft>
              <a:buFont typeface="Wingdings" panose="05000000000000000000" pitchFamily="2" charset="2"/>
              <a:buChar char="§"/>
            </a:pPr>
            <a:r>
              <a:rPr lang="nl-NL" sz="1200" dirty="0"/>
              <a:t>Intake;</a:t>
            </a:r>
          </a:p>
          <a:p>
            <a:pPr marL="720000" lvl="2">
              <a:lnSpc>
                <a:spcPct val="150000"/>
              </a:lnSpc>
              <a:spcBef>
                <a:spcPts val="400"/>
              </a:spcBef>
              <a:spcAft>
                <a:spcPts val="400"/>
              </a:spcAft>
              <a:buFont typeface="Wingdings" panose="05000000000000000000" pitchFamily="2" charset="2"/>
              <a:buChar char="§"/>
            </a:pPr>
            <a:r>
              <a:rPr lang="nl-NL" sz="1200" dirty="0"/>
              <a:t>Beoordeling / afdoening;</a:t>
            </a:r>
          </a:p>
          <a:p>
            <a:pPr marL="720000" lvl="2">
              <a:lnSpc>
                <a:spcPct val="150000"/>
              </a:lnSpc>
              <a:spcBef>
                <a:spcPts val="400"/>
              </a:spcBef>
              <a:spcAft>
                <a:spcPts val="400"/>
              </a:spcAft>
              <a:buFont typeface="Wingdings" panose="05000000000000000000" pitchFamily="2" charset="2"/>
              <a:buChar char="§"/>
            </a:pPr>
            <a:r>
              <a:rPr lang="nl-NL" sz="1200" dirty="0"/>
              <a:t>Zitting;</a:t>
            </a:r>
          </a:p>
          <a:p>
            <a:pPr marL="720000" lvl="2">
              <a:lnSpc>
                <a:spcPct val="150000"/>
              </a:lnSpc>
              <a:spcBef>
                <a:spcPts val="400"/>
              </a:spcBef>
              <a:spcAft>
                <a:spcPts val="400"/>
              </a:spcAft>
              <a:buFont typeface="Wingdings" panose="05000000000000000000" pitchFamily="2" charset="2"/>
              <a:buChar char="§"/>
            </a:pPr>
            <a:r>
              <a:rPr lang="nl-NL" sz="1200" dirty="0"/>
              <a:t>Executie.</a:t>
            </a:r>
          </a:p>
          <a:p>
            <a:pPr marL="270000" lvl="2">
              <a:lnSpc>
                <a:spcPct val="150000"/>
              </a:lnSpc>
              <a:spcBef>
                <a:spcPts val="400"/>
              </a:spcBef>
              <a:spcAft>
                <a:spcPts val="400"/>
              </a:spcAft>
              <a:buFont typeface="Wingdings" panose="05000000000000000000" pitchFamily="2" charset="2"/>
              <a:buChar char="§"/>
            </a:pPr>
            <a:endParaRPr lang="nl-NL" sz="1200" dirty="0"/>
          </a:p>
        </p:txBody>
      </p:sp>
      <p:sp>
        <p:nvSpPr>
          <p:cNvPr id="7" name="Tijdelijke aanduiding voor inhoud 1">
            <a:extLst>
              <a:ext uri="{FF2B5EF4-FFF2-40B4-BE49-F238E27FC236}">
                <a16:creationId xmlns:a16="http://schemas.microsoft.com/office/drawing/2014/main" id="{B6D11571-3462-4138-BBC9-837839E6A27D}"/>
              </a:ext>
            </a:extLst>
          </p:cNvPr>
          <p:cNvSpPr txBox="1">
            <a:spLocks/>
          </p:cNvSpPr>
          <p:nvPr/>
        </p:nvSpPr>
        <p:spPr bwMode="gray">
          <a:xfrm>
            <a:off x="7031310" y="1746178"/>
            <a:ext cx="4992304" cy="2376264"/>
          </a:xfrm>
          <a:prstGeom prst="rect">
            <a:avLst/>
          </a:prstGeom>
        </p:spPr>
        <p:txBody>
          <a:bodyPr vert="horz" wrap="square" lIns="0" tIns="0" rIns="0" bIns="0" numCol="1" rtlCol="0" anchor="t" anchorCtr="0" compatLnSpc="1">
            <a:prstTxWarp prst="textNoShape">
              <a:avLst/>
            </a:prstTxWarp>
            <a:noAutofit/>
          </a:bodyPr>
          <a:lstStyle>
            <a:lvl1pPr marL="270000" indent="-270000" algn="l" defTabSz="1088502" rtl="0" eaLnBrk="1" latinLnBrk="0" hangingPunct="1">
              <a:spcBef>
                <a:spcPts val="0"/>
              </a:spcBef>
              <a:buFont typeface="Arial" pitchFamily="34" charset="0"/>
              <a:buChar char="•"/>
              <a:defRPr sz="1800" b="0" kern="1200" baseline="0">
                <a:solidFill>
                  <a:schemeClr val="tx1"/>
                </a:solidFill>
                <a:latin typeface="+mn-lt"/>
                <a:ea typeface="+mn-ea"/>
                <a:cs typeface="+mn-cs"/>
              </a:defRPr>
            </a:lvl1pPr>
            <a:lvl2pPr marL="540000" indent="-270000" algn="l" defTabSz="1088502" rtl="0" eaLnBrk="1" latinLnBrk="0" hangingPunct="1">
              <a:spcBef>
                <a:spcPts val="0"/>
              </a:spcBef>
              <a:buFont typeface="Arial" pitchFamily="34" charset="0"/>
              <a:buChar char="•"/>
              <a:defRPr sz="1800" kern="1200">
                <a:solidFill>
                  <a:schemeClr val="tx1"/>
                </a:solidFill>
                <a:latin typeface="+mn-lt"/>
                <a:ea typeface="+mn-ea"/>
                <a:cs typeface="+mn-cs"/>
              </a:defRPr>
            </a:lvl2pPr>
            <a:lvl3pPr marL="810000" indent="-270000" algn="l" defTabSz="1088502" rtl="0" eaLnBrk="1" latinLnBrk="0" hangingPunct="1">
              <a:spcBef>
                <a:spcPts val="0"/>
              </a:spcBef>
              <a:buFont typeface="Arial" pitchFamily="34" charset="0"/>
              <a:buChar char="•"/>
              <a:defRPr sz="1800" b="0" kern="1200">
                <a:solidFill>
                  <a:schemeClr val="tx1"/>
                </a:solidFill>
                <a:latin typeface="+mn-lt"/>
                <a:ea typeface="+mn-ea"/>
                <a:cs typeface="+mn-cs"/>
              </a:defRPr>
            </a:lvl3pPr>
            <a:lvl4pPr marL="0" indent="0" algn="l" defTabSz="1088502" rtl="0" eaLnBrk="1" latinLnBrk="0" hangingPunct="1">
              <a:spcBef>
                <a:spcPts val="1800"/>
              </a:spcBef>
              <a:spcAft>
                <a:spcPts val="800"/>
              </a:spcAft>
              <a:buFont typeface="Arial" pitchFamily="34" charset="0"/>
              <a:buNone/>
              <a:defRPr sz="1800" b="1" kern="1200">
                <a:solidFill>
                  <a:schemeClr val="tx1"/>
                </a:solidFill>
                <a:latin typeface="+mn-lt"/>
                <a:ea typeface="+mn-ea"/>
                <a:cs typeface="+mn-cs"/>
              </a:defRPr>
            </a:lvl4pPr>
            <a:lvl5pPr marL="0" indent="0" algn="l" defTabSz="1088502" rtl="0" eaLnBrk="1" latinLnBrk="0" hangingPunct="1">
              <a:spcBef>
                <a:spcPts val="0"/>
              </a:spcBef>
              <a:buFont typeface="Arial" pitchFamily="34" charset="0"/>
              <a:buNone/>
              <a:defRPr sz="1800" kern="1200">
                <a:solidFill>
                  <a:schemeClr val="tx1"/>
                </a:solidFill>
                <a:latin typeface="+mn-lt"/>
                <a:ea typeface="+mn-ea"/>
                <a:cs typeface="+mn-cs"/>
              </a:defRPr>
            </a:lvl5pPr>
            <a:lvl6pPr marL="270000" indent="0" algn="l" defTabSz="1088502" rtl="0" eaLnBrk="1" latinLnBrk="0" hangingPunct="1">
              <a:spcBef>
                <a:spcPts val="0"/>
              </a:spcBef>
              <a:buFont typeface="Arial" pitchFamily="34" charset="0"/>
              <a:buNone/>
              <a:defRPr sz="1800" kern="1200">
                <a:solidFill>
                  <a:schemeClr val="tx1"/>
                </a:solidFill>
                <a:latin typeface="+mn-lt"/>
                <a:ea typeface="+mn-ea"/>
                <a:cs typeface="+mn-cs"/>
              </a:defRPr>
            </a:lvl6pPr>
            <a:lvl7pPr marL="540000" indent="0" algn="l" defTabSz="1088502" rtl="0" eaLnBrk="1" latinLnBrk="0" hangingPunct="1">
              <a:spcBef>
                <a:spcPts val="0"/>
              </a:spcBef>
              <a:buFont typeface="Arial" pitchFamily="34" charset="0"/>
              <a:buNone/>
              <a:defRPr sz="1800" kern="1200">
                <a:solidFill>
                  <a:schemeClr val="tx1"/>
                </a:solidFill>
                <a:latin typeface="+mn-lt"/>
                <a:ea typeface="+mn-ea"/>
                <a:cs typeface="+mn-cs"/>
              </a:defRPr>
            </a:lvl7pPr>
            <a:lvl8pPr marL="810000" indent="0" algn="l" defTabSz="1088502" rtl="0" eaLnBrk="1" latinLnBrk="0" hangingPunct="1">
              <a:spcBef>
                <a:spcPts val="0"/>
              </a:spcBef>
              <a:buFont typeface="Arial" pitchFamily="34" charset="0"/>
              <a:buNone/>
              <a:defRPr sz="1800" kern="1200">
                <a:solidFill>
                  <a:schemeClr val="tx1"/>
                </a:solidFill>
                <a:latin typeface="+mn-lt"/>
                <a:ea typeface="+mn-ea"/>
                <a:cs typeface="+mn-cs"/>
              </a:defRPr>
            </a:lvl8pPr>
            <a:lvl9pPr marL="0" indent="0" algn="l" defTabSz="1088502" rtl="0" eaLnBrk="1" latinLnBrk="0" hangingPunct="1">
              <a:spcBef>
                <a:spcPts val="0"/>
              </a:spcBef>
              <a:buFont typeface="Arial" pitchFamily="34" charset="0"/>
              <a:buNone/>
              <a:defRPr sz="1800" i="1" kern="1200" baseline="0">
                <a:solidFill>
                  <a:schemeClr val="tx1"/>
                </a:solidFill>
                <a:latin typeface="+mn-lt"/>
                <a:ea typeface="+mn-ea"/>
                <a:cs typeface="+mn-cs"/>
              </a:defRPr>
            </a:lvl9pPr>
          </a:lstStyle>
          <a:p>
            <a:pPr marL="0" lvl="2" indent="0">
              <a:lnSpc>
                <a:spcPct val="150000"/>
              </a:lnSpc>
              <a:spcBef>
                <a:spcPts val="400"/>
              </a:spcBef>
              <a:spcAft>
                <a:spcPts val="400"/>
              </a:spcAft>
              <a:buNone/>
            </a:pPr>
            <a:r>
              <a:rPr lang="nl-NL" sz="1400" b="1" dirty="0"/>
              <a:t>Bestanden</a:t>
            </a:r>
          </a:p>
          <a:p>
            <a:pPr marL="270000" lvl="2">
              <a:lnSpc>
                <a:spcPct val="150000"/>
              </a:lnSpc>
              <a:spcBef>
                <a:spcPts val="400"/>
              </a:spcBef>
              <a:spcAft>
                <a:spcPts val="400"/>
              </a:spcAft>
              <a:buFont typeface="Wingdings" panose="05000000000000000000" pitchFamily="2" charset="2"/>
              <a:buChar char="§"/>
            </a:pPr>
            <a:r>
              <a:rPr lang="nl-NL" sz="1200" dirty="0"/>
              <a:t>Binnen onderzoeken zijn er in principe twee soorten bestanden die gebruikt worden</a:t>
            </a:r>
          </a:p>
          <a:p>
            <a:pPr marL="720000" lvl="2">
              <a:lnSpc>
                <a:spcPct val="150000"/>
              </a:lnSpc>
              <a:spcBef>
                <a:spcPts val="400"/>
              </a:spcBef>
              <a:spcAft>
                <a:spcPts val="400"/>
              </a:spcAft>
              <a:buFont typeface="Wingdings" panose="05000000000000000000" pitchFamily="2" charset="2"/>
              <a:buChar char="§"/>
            </a:pPr>
            <a:r>
              <a:rPr lang="nl-NL" sz="1200" dirty="0"/>
              <a:t>Bestanden die het OM genereert</a:t>
            </a:r>
          </a:p>
          <a:p>
            <a:pPr marL="720000" lvl="2">
              <a:lnSpc>
                <a:spcPct val="150000"/>
              </a:lnSpc>
              <a:spcBef>
                <a:spcPts val="400"/>
              </a:spcBef>
              <a:spcAft>
                <a:spcPts val="400"/>
              </a:spcAft>
              <a:buFont typeface="Wingdings" panose="05000000000000000000" pitchFamily="2" charset="2"/>
              <a:buChar char="§"/>
            </a:pPr>
            <a:r>
              <a:rPr lang="nl-NL" sz="1200" dirty="0"/>
              <a:t>Bestanden die van buiten de OM organisatie worden ontvangen</a:t>
            </a:r>
          </a:p>
          <a:p>
            <a:pPr marL="270000" lvl="2">
              <a:lnSpc>
                <a:spcPct val="150000"/>
              </a:lnSpc>
              <a:spcBef>
                <a:spcPts val="400"/>
              </a:spcBef>
              <a:spcAft>
                <a:spcPts val="400"/>
              </a:spcAft>
              <a:buFont typeface="Wingdings" panose="05000000000000000000" pitchFamily="2" charset="2"/>
              <a:buChar char="§"/>
            </a:pPr>
            <a:r>
              <a:rPr lang="nl-NL" sz="1200" dirty="0">
                <a:sym typeface="Wingdings" panose="05000000000000000000" pitchFamily="2" charset="2"/>
              </a:rPr>
              <a:t>De losse bestanden vormen in gezamenlijkheid het dossier op basis waarvan een beoordeling wordt opgemaakt</a:t>
            </a:r>
          </a:p>
          <a:p>
            <a:pPr marL="270000" lvl="2">
              <a:lnSpc>
                <a:spcPct val="150000"/>
              </a:lnSpc>
              <a:spcBef>
                <a:spcPts val="400"/>
              </a:spcBef>
              <a:spcAft>
                <a:spcPts val="400"/>
              </a:spcAft>
              <a:buFont typeface="Wingdings" panose="05000000000000000000" pitchFamily="2" charset="2"/>
              <a:buChar char="§"/>
            </a:pPr>
            <a:r>
              <a:rPr lang="nl-NL" sz="1200" dirty="0">
                <a:sym typeface="Wingdings" panose="05000000000000000000" pitchFamily="2" charset="2"/>
              </a:rPr>
              <a:t>Een dossier bestaat uit een vaste mappenstructuur, waarbij voorwaarden per bestand zich kunnen voordoen (denk aan specifieke autorisaties en gerelateerde acties)</a:t>
            </a:r>
          </a:p>
        </p:txBody>
      </p:sp>
      <p:sp>
        <p:nvSpPr>
          <p:cNvPr id="3" name="Isosceles Triangle 2">
            <a:extLst>
              <a:ext uri="{FF2B5EF4-FFF2-40B4-BE49-F238E27FC236}">
                <a16:creationId xmlns:a16="http://schemas.microsoft.com/office/drawing/2014/main" id="{D721BAD6-3BF7-4FD9-8042-404741CAA058}"/>
              </a:ext>
            </a:extLst>
          </p:cNvPr>
          <p:cNvSpPr/>
          <p:nvPr/>
        </p:nvSpPr>
        <p:spPr>
          <a:xfrm rot="5400000">
            <a:off x="1043384" y="5406929"/>
            <a:ext cx="477326" cy="411488"/>
          </a:xfrm>
          <a:prstGeom prst="triangl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l-NL"/>
          </a:p>
        </p:txBody>
      </p:sp>
      <p:sp>
        <p:nvSpPr>
          <p:cNvPr id="9" name="TextBox 8">
            <a:extLst>
              <a:ext uri="{FF2B5EF4-FFF2-40B4-BE49-F238E27FC236}">
                <a16:creationId xmlns:a16="http://schemas.microsoft.com/office/drawing/2014/main" id="{280CB1B1-57AB-4D27-8944-5865F5644A3F}"/>
              </a:ext>
            </a:extLst>
          </p:cNvPr>
          <p:cNvSpPr txBox="1"/>
          <p:nvPr/>
        </p:nvSpPr>
        <p:spPr>
          <a:xfrm>
            <a:off x="1487791" y="5474173"/>
            <a:ext cx="5329390" cy="276999"/>
          </a:xfrm>
          <a:prstGeom prst="rect">
            <a:avLst/>
          </a:prstGeom>
          <a:noFill/>
        </p:spPr>
        <p:txBody>
          <a:bodyPr wrap="square">
            <a:spAutoFit/>
          </a:bodyPr>
          <a:lstStyle/>
          <a:p>
            <a:r>
              <a:rPr lang="nl-NL" sz="1200" dirty="0"/>
              <a:t>Eventuele praktijkvoorbeelden om dit nader te illustreren</a:t>
            </a:r>
          </a:p>
        </p:txBody>
      </p:sp>
    </p:spTree>
    <p:extLst>
      <p:ext uri="{BB962C8B-B14F-4D97-AF65-F5344CB8AC3E}">
        <p14:creationId xmlns:p14="http://schemas.microsoft.com/office/powerpoint/2010/main" val="38670098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145429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3" name="think-cell Slide" r:id="rId6" imgW="592" imgH="595" progId="TCLayout.ActiveDocument.1">
                  <p:embed/>
                </p:oleObj>
              </mc:Choice>
              <mc:Fallback>
                <p:oleObj name="think-cell Slide" r:id="rId6" imgW="592" imgH="595"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nl-NL" sz="2400" b="1" dirty="0">
              <a:latin typeface="Verdana" panose="020B0604030504040204" pitchFamily="34" charset="0"/>
              <a:ea typeface="+mj-ea"/>
              <a:cs typeface="+mj-cs"/>
              <a:sym typeface="Verdana" panose="020B0604030504040204" pitchFamily="34" charset="0"/>
            </a:endParaRPr>
          </a:p>
        </p:txBody>
      </p:sp>
      <p:sp>
        <p:nvSpPr>
          <p:cNvPr id="2" name="Titel 1"/>
          <p:cNvSpPr>
            <a:spLocks noGrp="1"/>
          </p:cNvSpPr>
          <p:nvPr>
            <p:ph type="title"/>
          </p:nvPr>
        </p:nvSpPr>
        <p:spPr bwMode="gray">
          <a:xfrm>
            <a:off x="1081183" y="549474"/>
            <a:ext cx="10080000" cy="868556"/>
          </a:xfrm>
        </p:spPr>
        <p:txBody>
          <a:bodyPr vert="horz"/>
          <a:lstStyle/>
          <a:p>
            <a:r>
              <a:rPr lang="nl-NL" dirty="0"/>
              <a:t>7. Vragenronde</a:t>
            </a:r>
          </a:p>
        </p:txBody>
      </p:sp>
      <p:pic>
        <p:nvPicPr>
          <p:cNvPr id="3" name="Picture 2">
            <a:extLst>
              <a:ext uri="{FF2B5EF4-FFF2-40B4-BE49-F238E27FC236}">
                <a16:creationId xmlns:a16="http://schemas.microsoft.com/office/drawing/2014/main" id="{E7093BE7-2DB2-4E99-95CF-F1D4C1F9FC88}"/>
              </a:ext>
            </a:extLst>
          </p:cNvPr>
          <p:cNvPicPr>
            <a:picLocks noChangeAspect="1"/>
          </p:cNvPicPr>
          <p:nvPr/>
        </p:nvPicPr>
        <p:blipFill>
          <a:blip r:embed="rId8"/>
          <a:stretch>
            <a:fillRect/>
          </a:stretch>
        </p:blipFill>
        <p:spPr>
          <a:xfrm>
            <a:off x="1081183" y="2421682"/>
            <a:ext cx="3717879" cy="2784820"/>
          </a:xfrm>
          <a:prstGeom prst="rect">
            <a:avLst/>
          </a:prstGeom>
        </p:spPr>
      </p:pic>
    </p:spTree>
    <p:extLst>
      <p:ext uri="{BB962C8B-B14F-4D97-AF65-F5344CB8AC3E}">
        <p14:creationId xmlns:p14="http://schemas.microsoft.com/office/powerpoint/2010/main" val="38767141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x9u_RWESgiJftrjKjNM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x9u_RWESgiJftrjKjNM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x9u_RWESgiJftrjKjNM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x9u_RWESgiJftrjKjNM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x9u_RWESgiJftrjKjNM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29aMNRQgOkjFPzUy29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x9u_RWESgiJftrjKjNMlQ"/>
</p:tagLst>
</file>

<file path=ppt/theme/theme1.xml><?xml version="1.0" encoding="utf-8"?>
<a:theme xmlns:a="http://schemas.openxmlformats.org/drawingml/2006/main" name="Huisstijl">
  <a:themeElements>
    <a:clrScheme name="Kleuren Openbaar Ministerie">
      <a:dk1>
        <a:sysClr val="windowText" lastClr="000000"/>
      </a:dk1>
      <a:lt1>
        <a:sysClr val="window" lastClr="FFFFFF"/>
      </a:lt1>
      <a:dk2>
        <a:srgbClr val="000000"/>
      </a:dk2>
      <a:lt2>
        <a:srgbClr val="FFFFFF"/>
      </a:lt2>
      <a:accent1>
        <a:srgbClr val="DBF0F6"/>
      </a:accent1>
      <a:accent2>
        <a:srgbClr val="91D2F3"/>
      </a:accent2>
      <a:accent3>
        <a:srgbClr val="001A35"/>
      </a:accent3>
      <a:accent4>
        <a:srgbClr val="44165D"/>
      </a:accent4>
      <a:accent5>
        <a:srgbClr val="ED6A00"/>
      </a:accent5>
      <a:accent6>
        <a:srgbClr val="FFFF00"/>
      </a:accent6>
      <a:hlink>
        <a:srgbClr val="000000"/>
      </a:hlink>
      <a:folHlink>
        <a:srgbClr val="000000"/>
      </a:folHlink>
    </a:clrScheme>
    <a:fontScheme name="Lettertypen Openbaar Ministerie">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a:defPPr>
      </a:lstStyle>
    </a:txDef>
  </a:objectDefaults>
  <a:extraClrSchemeLst/>
  <a:extLst>
    <a:ext uri="{05A4C25C-085E-4340-85A3-A5531E510DB2}">
      <thm15:themeFamily xmlns:thm15="http://schemas.microsoft.com/office/thememl/2012/main" name="Presentatie OM.potx" id="{14A1CCB5-AB76-417A-91E2-AF88C3B30F4B}" vid="{7E516FD9-CFE8-46A1-99B7-C3D2A0F1D737}"/>
    </a:ext>
  </a:extLst>
</a:theme>
</file>

<file path=ppt/theme/theme2.xml><?xml version="1.0" encoding="utf-8"?>
<a:theme xmlns:a="http://schemas.openxmlformats.org/drawingml/2006/main" name="1_Huisstijl">
  <a:themeElements>
    <a:clrScheme name="Kleuren Openbaar Ministerie">
      <a:dk1>
        <a:sysClr val="windowText" lastClr="000000"/>
      </a:dk1>
      <a:lt1>
        <a:sysClr val="window" lastClr="FFFFFF"/>
      </a:lt1>
      <a:dk2>
        <a:srgbClr val="000000"/>
      </a:dk2>
      <a:lt2>
        <a:srgbClr val="FFFFFF"/>
      </a:lt2>
      <a:accent1>
        <a:srgbClr val="DBF0F6"/>
      </a:accent1>
      <a:accent2>
        <a:srgbClr val="91D2F3"/>
      </a:accent2>
      <a:accent3>
        <a:srgbClr val="001A35"/>
      </a:accent3>
      <a:accent4>
        <a:srgbClr val="44165D"/>
      </a:accent4>
      <a:accent5>
        <a:srgbClr val="ED6A00"/>
      </a:accent5>
      <a:accent6>
        <a:srgbClr val="FFFF00"/>
      </a:accent6>
      <a:hlink>
        <a:srgbClr val="000000"/>
      </a:hlink>
      <a:folHlink>
        <a:srgbClr val="000000"/>
      </a:folHlink>
    </a:clrScheme>
    <a:fontScheme name="Lettertypen Openbaar Ministerie">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a:defPPr>
      </a:lstStyle>
    </a:txDef>
  </a:objectDefaults>
  <a:extraClrSchemeLst/>
  <a:extLst>
    <a:ext uri="{05A4C25C-085E-4340-85A3-A5531E510DB2}">
      <thm15:themeFamily xmlns:thm15="http://schemas.microsoft.com/office/thememl/2012/main" name="Presentatie OM.potx" id="{14A1CCB5-AB76-417A-91E2-AF88C3B30F4B}" vid="{7E516FD9-CFE8-46A1-99B7-C3D2A0F1D737}"/>
    </a:ext>
  </a:extLst>
</a:theme>
</file>

<file path=ppt/theme/theme3.xml><?xml version="1.0" encoding="utf-8"?>
<a:theme xmlns:a="http://schemas.openxmlformats.org/drawingml/2006/main" name="2_Huisstijl">
  <a:themeElements>
    <a:clrScheme name="Kleuren Openbaar Ministerie">
      <a:dk1>
        <a:sysClr val="windowText" lastClr="000000"/>
      </a:dk1>
      <a:lt1>
        <a:sysClr val="window" lastClr="FFFFFF"/>
      </a:lt1>
      <a:dk2>
        <a:srgbClr val="000000"/>
      </a:dk2>
      <a:lt2>
        <a:srgbClr val="FFFFFF"/>
      </a:lt2>
      <a:accent1>
        <a:srgbClr val="DBF0F6"/>
      </a:accent1>
      <a:accent2>
        <a:srgbClr val="91D2F3"/>
      </a:accent2>
      <a:accent3>
        <a:srgbClr val="001A35"/>
      </a:accent3>
      <a:accent4>
        <a:srgbClr val="44165D"/>
      </a:accent4>
      <a:accent5>
        <a:srgbClr val="ED6A00"/>
      </a:accent5>
      <a:accent6>
        <a:srgbClr val="FFFF00"/>
      </a:accent6>
      <a:hlink>
        <a:srgbClr val="000000"/>
      </a:hlink>
      <a:folHlink>
        <a:srgbClr val="000000"/>
      </a:folHlink>
    </a:clrScheme>
    <a:fontScheme name="Lettertypen Openbaar Ministerie">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a:defPPr>
      </a:lstStyle>
    </a:txDef>
  </a:objectDefaults>
  <a:extraClrSchemeLst/>
  <a:extLst>
    <a:ext uri="{05A4C25C-085E-4340-85A3-A5531E510DB2}">
      <thm15:themeFamily xmlns:thm15="http://schemas.microsoft.com/office/thememl/2012/main" name="Presentatie OM.potx" id="{14A1CCB5-AB76-417A-91E2-AF88C3B30F4B}" vid="{7E516FD9-CFE8-46A1-99B7-C3D2A0F1D737}"/>
    </a:ext>
  </a:extLst>
</a:theme>
</file>

<file path=ppt/theme/theme4.xml><?xml version="1.0" encoding="utf-8"?>
<a:theme xmlns:a="http://schemas.openxmlformats.org/drawingml/2006/main" name="Office-thema">
  <a:themeElements>
    <a:clrScheme name="Kleuren Openbaar Ministerie">
      <a:dk1>
        <a:sysClr val="windowText" lastClr="000000"/>
      </a:dk1>
      <a:lt1>
        <a:sysClr val="window" lastClr="FFFFFF"/>
      </a:lt1>
      <a:dk2>
        <a:srgbClr val="000000"/>
      </a:dk2>
      <a:lt2>
        <a:srgbClr val="FFFFFF"/>
      </a:lt2>
      <a:accent1>
        <a:srgbClr val="DBF0F6"/>
      </a:accent1>
      <a:accent2>
        <a:srgbClr val="91D2F3"/>
      </a:accent2>
      <a:accent3>
        <a:srgbClr val="001A35"/>
      </a:accent3>
      <a:accent4>
        <a:srgbClr val="44165D"/>
      </a:accent4>
      <a:accent5>
        <a:srgbClr val="ED6A00"/>
      </a:accent5>
      <a:accent6>
        <a:srgbClr val="FFFF00"/>
      </a:accent6>
      <a:hlink>
        <a:srgbClr val="000000"/>
      </a:hlink>
      <a:folHlink>
        <a:srgbClr val="000000"/>
      </a:folHlink>
    </a:clrScheme>
    <a:fontScheme name="Lettertypen Openbaar Ministerie">
      <a:majorFont>
        <a:latin typeface="Verdan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Verdana"/>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thema">
  <a:themeElements>
    <a:clrScheme name="Kleuren Openbaar Ministerie">
      <a:dk1>
        <a:sysClr val="windowText" lastClr="000000"/>
      </a:dk1>
      <a:lt1>
        <a:sysClr val="window" lastClr="FFFFFF"/>
      </a:lt1>
      <a:dk2>
        <a:srgbClr val="000000"/>
      </a:dk2>
      <a:lt2>
        <a:srgbClr val="FFFFFF"/>
      </a:lt2>
      <a:accent1>
        <a:srgbClr val="DBF0F6"/>
      </a:accent1>
      <a:accent2>
        <a:srgbClr val="91D2F3"/>
      </a:accent2>
      <a:accent3>
        <a:srgbClr val="001A35"/>
      </a:accent3>
      <a:accent4>
        <a:srgbClr val="44165D"/>
      </a:accent4>
      <a:accent5>
        <a:srgbClr val="ED6A00"/>
      </a:accent5>
      <a:accent6>
        <a:srgbClr val="FFFF00"/>
      </a:accent6>
      <a:hlink>
        <a:srgbClr val="000000"/>
      </a:hlink>
      <a:folHlink>
        <a:srgbClr val="000000"/>
      </a:folHlink>
    </a:clrScheme>
    <a:fontScheme name="Lettertypen Openbaar Ministerie">
      <a:majorFont>
        <a:latin typeface="Verdan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Verdana"/>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e OM</Template>
  <TotalTime>1394</TotalTime>
  <Words>667</Words>
  <Application>Microsoft Office PowerPoint</Application>
  <PresentationFormat>Aangepast</PresentationFormat>
  <Paragraphs>73</Paragraphs>
  <Slides>8</Slides>
  <Notes>8</Notes>
  <HiddenSlides>0</HiddenSlides>
  <MMClips>0</MMClips>
  <ScaleCrop>false</ScaleCrop>
  <HeadingPairs>
    <vt:vector size="8" baseType="variant">
      <vt:variant>
        <vt:lpstr>Gebruikte lettertypen</vt:lpstr>
      </vt:variant>
      <vt:variant>
        <vt:i4>4</vt:i4>
      </vt:variant>
      <vt:variant>
        <vt:lpstr>Thema</vt:lpstr>
      </vt:variant>
      <vt:variant>
        <vt:i4>3</vt:i4>
      </vt:variant>
      <vt:variant>
        <vt:lpstr>Ingesloten OLE-bronprogramma's</vt:lpstr>
      </vt:variant>
      <vt:variant>
        <vt:i4>1</vt:i4>
      </vt:variant>
      <vt:variant>
        <vt:lpstr>Diatitels</vt:lpstr>
      </vt:variant>
      <vt:variant>
        <vt:i4>8</vt:i4>
      </vt:variant>
    </vt:vector>
  </HeadingPairs>
  <TitlesOfParts>
    <vt:vector size="16" baseType="lpstr">
      <vt:lpstr>Arial</vt:lpstr>
      <vt:lpstr>Arial Black</vt:lpstr>
      <vt:lpstr>Verdana</vt:lpstr>
      <vt:lpstr>Wingdings</vt:lpstr>
      <vt:lpstr>Huisstijl</vt:lpstr>
      <vt:lpstr>1_Huisstijl</vt:lpstr>
      <vt:lpstr>2_Huisstijl</vt:lpstr>
      <vt:lpstr>think-cell Slide</vt:lpstr>
      <vt:lpstr>Inlichtingenbijeenkomst PoC ten behoeve van Verwerving ECM</vt:lpstr>
      <vt:lpstr>Agenda</vt:lpstr>
      <vt:lpstr>2. Richtlijnen Inlichtingenbijeenkomst PoC</vt:lpstr>
      <vt:lpstr>3. Aanleiding aanbesteding ECM</vt:lpstr>
      <vt:lpstr>4. Kernonderwerpen Gebruikers</vt:lpstr>
      <vt:lpstr>5. Kernonderwerpen Architectuur</vt:lpstr>
      <vt:lpstr>6. Context en toelichting caseomschrijving</vt:lpstr>
      <vt:lpstr>7. Vragenronde</vt:lpstr>
    </vt:vector>
  </TitlesOfParts>
  <Manager/>
  <Company>Openbaar Ministeri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subject/>
  <dc:creator>Mensink, P.A.  (DVOM)</dc:creator>
  <cp:keywords/>
  <dc:description>Versie 1.0a, 28 maart 2017_x000d_
Ontwikkeling sjabloon en macro's:_x000d_
www.JoulesUnlimited.nl_x000d_
Ontwerp lay out: www.vormvijf.nl</dc:description>
  <cp:lastModifiedBy>Rothengatter, A.  (DVOM)</cp:lastModifiedBy>
  <cp:revision>35</cp:revision>
  <dcterms:created xsi:type="dcterms:W3CDTF">2020-04-28T09:06:26Z</dcterms:created>
  <dcterms:modified xsi:type="dcterms:W3CDTF">2022-09-22T15:13:20Z</dcterms:modified>
  <cp:category/>
</cp:coreProperties>
</file>